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notesSlides/notesSlide1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notesSlides/notesSlide2.xml" ContentType="application/vnd.openxmlformats-officedocument.presentationml.notesSlid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49.xml" ContentType="application/vnd.openxmlformats-officedocument.presentationml.tags+xml"/>
  <Override PartName="/ppt/notesSlides/notesSlide5.xml" ContentType="application/vnd.openxmlformats-officedocument.presentationml.notesSlide+xml"/>
  <Override PartName="/ppt/tags/tag25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86" r:id="rId5"/>
    <p:sldMasterId id="2147483701" r:id="rId6"/>
    <p:sldMasterId id="2147483721" r:id="rId7"/>
    <p:sldMasterId id="2147483747" r:id="rId8"/>
  </p:sldMasterIdLst>
  <p:notesMasterIdLst>
    <p:notesMasterId r:id="rId16"/>
  </p:notesMasterIdLst>
  <p:handoutMasterIdLst>
    <p:handoutMasterId r:id="rId17"/>
  </p:handoutMasterIdLst>
  <p:sldIdLst>
    <p:sldId id="304" r:id="rId9"/>
    <p:sldId id="2147378103" r:id="rId10"/>
    <p:sldId id="2147378087" r:id="rId11"/>
    <p:sldId id="2147378098" r:id="rId12"/>
    <p:sldId id="2147378099" r:id="rId13"/>
    <p:sldId id="2147378102" r:id="rId14"/>
    <p:sldId id="299" r:id="rId15"/>
  </p:sldIdLst>
  <p:sldSz cx="12192000" cy="6858000"/>
  <p:notesSz cx="6858000" cy="9144000"/>
  <p:defaultTextStyle>
    <a:defPPr rtl="0"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CF0"/>
    <a:srgbClr val="006600"/>
    <a:srgbClr val="008000"/>
    <a:srgbClr val="79B800"/>
    <a:srgbClr val="292929"/>
    <a:srgbClr val="F2F2F2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C030BB-6DE3-4411-9D32-74A5ED8F6904}" v="458" dt="2021-12-23T06:46:45.681"/>
  </p1510:revLst>
</p1510:revInfo>
</file>

<file path=ppt/tableStyles.xml><?xml version="1.0" encoding="utf-8"?>
<a:tblStyleLst xmlns:a="http://schemas.openxmlformats.org/drawingml/2006/main" def="{69012ECD-51FC-41F1-AA8D-1B2483CD663E}"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6" autoAdjust="0"/>
    <p:restoredTop sz="83806" autoAdjust="0"/>
  </p:normalViewPr>
  <p:slideViewPr>
    <p:cSldViewPr snapToGrid="0">
      <p:cViewPr varScale="1">
        <p:scale>
          <a:sx n="56" d="100"/>
          <a:sy n="56" d="100"/>
        </p:scale>
        <p:origin x="956" y="44"/>
      </p:cViewPr>
      <p:guideLst/>
    </p:cSldViewPr>
  </p:slideViewPr>
  <p:outlineViewPr>
    <p:cViewPr>
      <p:scale>
        <a:sx n="33" d="100"/>
        <a:sy n="33" d="100"/>
      </p:scale>
      <p:origin x="0" y="-1739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katerina Veselkova" userId="5ed5cb5c-b82d-4261-a35d-9158526644a8" providerId="ADAL" clId="{35C030BB-6DE3-4411-9D32-74A5ED8F6904}"/>
    <pc:docChg chg="undo redo custSel addSld delSld modSld">
      <pc:chgData name="Ekaterina Veselkova" userId="5ed5cb5c-b82d-4261-a35d-9158526644a8" providerId="ADAL" clId="{35C030BB-6DE3-4411-9D32-74A5ED8F6904}" dt="2021-12-23T06:47:55.820" v="11532" actId="3626"/>
      <pc:docMkLst>
        <pc:docMk/>
      </pc:docMkLst>
      <pc:sldChg chg="del">
        <pc:chgData name="Ekaterina Veselkova" userId="5ed5cb5c-b82d-4261-a35d-9158526644a8" providerId="ADAL" clId="{35C030BB-6DE3-4411-9D32-74A5ED8F6904}" dt="2021-12-21T10:01:24.085" v="68" actId="47"/>
        <pc:sldMkLst>
          <pc:docMk/>
          <pc:sldMk cId="3296451063" sldId="302"/>
        </pc:sldMkLst>
      </pc:sldChg>
      <pc:sldChg chg="modSp mod modNotesTx">
        <pc:chgData name="Ekaterina Veselkova" userId="5ed5cb5c-b82d-4261-a35d-9158526644a8" providerId="ADAL" clId="{35C030BB-6DE3-4411-9D32-74A5ED8F6904}" dt="2021-12-23T06:45:31.404" v="11523" actId="20577"/>
        <pc:sldMkLst>
          <pc:docMk/>
          <pc:sldMk cId="1396317339" sldId="304"/>
        </pc:sldMkLst>
        <pc:spChg chg="mod">
          <ac:chgData name="Ekaterina Veselkova" userId="5ed5cb5c-b82d-4261-a35d-9158526644a8" providerId="ADAL" clId="{35C030BB-6DE3-4411-9D32-74A5ED8F6904}" dt="2021-12-22T08:59:18.779" v="10388" actId="20577"/>
          <ac:spMkLst>
            <pc:docMk/>
            <pc:sldMk cId="1396317339" sldId="304"/>
            <ac:spMk id="15" creationId="{3672572C-2131-4986-B343-6702207EDACD}"/>
          </ac:spMkLst>
        </pc:spChg>
        <pc:spChg chg="mod">
          <ac:chgData name="Ekaterina Veselkova" userId="5ed5cb5c-b82d-4261-a35d-9158526644a8" providerId="ADAL" clId="{35C030BB-6DE3-4411-9D32-74A5ED8F6904}" dt="2021-12-21T10:01:18.594" v="67" actId="20577"/>
          <ac:spMkLst>
            <pc:docMk/>
            <pc:sldMk cId="1396317339" sldId="304"/>
            <ac:spMk id="18" creationId="{B3519AA9-9EDC-4A35-90F9-C6C951C85B20}"/>
          </ac:spMkLst>
        </pc:spChg>
      </pc:sldChg>
      <pc:sldChg chg="del">
        <pc:chgData name="Ekaterina Veselkova" userId="5ed5cb5c-b82d-4261-a35d-9158526644a8" providerId="ADAL" clId="{35C030BB-6DE3-4411-9D32-74A5ED8F6904}" dt="2021-12-21T10:01:46.892" v="73" actId="47"/>
        <pc:sldMkLst>
          <pc:docMk/>
          <pc:sldMk cId="3270251873" sldId="357"/>
        </pc:sldMkLst>
      </pc:sldChg>
      <pc:sldChg chg="addSp modSp mod modNotesTx">
        <pc:chgData name="Ekaterina Veselkova" userId="5ed5cb5c-b82d-4261-a35d-9158526644a8" providerId="ADAL" clId="{35C030BB-6DE3-4411-9D32-74A5ED8F6904}" dt="2021-12-23T06:46:45.681" v="11530" actId="20578"/>
        <pc:sldMkLst>
          <pc:docMk/>
          <pc:sldMk cId="2858129859" sldId="2147378087"/>
        </pc:sldMkLst>
        <pc:spChg chg="mod">
          <ac:chgData name="Ekaterina Veselkova" userId="5ed5cb5c-b82d-4261-a35d-9158526644a8" providerId="ADAL" clId="{35C030BB-6DE3-4411-9D32-74A5ED8F6904}" dt="2021-12-23T06:46:45.681" v="11530" actId="20578"/>
          <ac:spMkLst>
            <pc:docMk/>
            <pc:sldMk cId="2858129859" sldId="2147378087"/>
            <ac:spMk id="13" creationId="{A4FEDAE8-8A78-4057-B0E8-0B4F3C14CFB7}"/>
          </ac:spMkLst>
        </pc:spChg>
        <pc:spChg chg="mod">
          <ac:chgData name="Ekaterina Veselkova" userId="5ed5cb5c-b82d-4261-a35d-9158526644a8" providerId="ADAL" clId="{35C030BB-6DE3-4411-9D32-74A5ED8F6904}" dt="2021-12-21T10:02:20.983" v="78" actId="1076"/>
          <ac:spMkLst>
            <pc:docMk/>
            <pc:sldMk cId="2858129859" sldId="2147378087"/>
            <ac:spMk id="30" creationId="{2125D8B3-FC95-409F-B1E1-F1057A801912}"/>
          </ac:spMkLst>
        </pc:spChg>
        <pc:picChg chg="mod">
          <ac:chgData name="Ekaterina Veselkova" userId="5ed5cb5c-b82d-4261-a35d-9158526644a8" providerId="ADAL" clId="{35C030BB-6DE3-4411-9D32-74A5ED8F6904}" dt="2021-12-21T10:02:45.362" v="85" actId="1076"/>
          <ac:picMkLst>
            <pc:docMk/>
            <pc:sldMk cId="2858129859" sldId="2147378087"/>
            <ac:picMk id="4" creationId="{537BB24B-3223-4FAF-9D8C-5E93CCF45B26}"/>
          </ac:picMkLst>
        </pc:picChg>
        <pc:picChg chg="add mod">
          <ac:chgData name="Ekaterina Veselkova" userId="5ed5cb5c-b82d-4261-a35d-9158526644a8" providerId="ADAL" clId="{35C030BB-6DE3-4411-9D32-74A5ED8F6904}" dt="2021-12-21T10:02:52.061" v="86" actId="1076"/>
          <ac:picMkLst>
            <pc:docMk/>
            <pc:sldMk cId="2858129859" sldId="2147378087"/>
            <ac:picMk id="9" creationId="{32EBE158-A202-4847-AAF9-AA2F304C91FC}"/>
          </ac:picMkLst>
        </pc:picChg>
      </pc:sldChg>
      <pc:sldChg chg="del">
        <pc:chgData name="Ekaterina Veselkova" userId="5ed5cb5c-b82d-4261-a35d-9158526644a8" providerId="ADAL" clId="{35C030BB-6DE3-4411-9D32-74A5ED8F6904}" dt="2021-12-21T10:01:45.835" v="71" actId="47"/>
        <pc:sldMkLst>
          <pc:docMk/>
          <pc:sldMk cId="2303474851" sldId="2147378088"/>
        </pc:sldMkLst>
      </pc:sldChg>
      <pc:sldChg chg="del">
        <pc:chgData name="Ekaterina Veselkova" userId="5ed5cb5c-b82d-4261-a35d-9158526644a8" providerId="ADAL" clId="{35C030BB-6DE3-4411-9D32-74A5ED8F6904}" dt="2021-12-21T10:01:46.453" v="72" actId="47"/>
        <pc:sldMkLst>
          <pc:docMk/>
          <pc:sldMk cId="2703168349" sldId="2147378089"/>
        </pc:sldMkLst>
      </pc:sldChg>
      <pc:sldChg chg="del">
        <pc:chgData name="Ekaterina Veselkova" userId="5ed5cb5c-b82d-4261-a35d-9158526644a8" providerId="ADAL" clId="{35C030BB-6DE3-4411-9D32-74A5ED8F6904}" dt="2021-12-21T10:01:47.458" v="74" actId="47"/>
        <pc:sldMkLst>
          <pc:docMk/>
          <pc:sldMk cId="967033725" sldId="2147378092"/>
        </pc:sldMkLst>
      </pc:sldChg>
      <pc:sldChg chg="modSp del modNotesTx">
        <pc:chgData name="Ekaterina Veselkova" userId="5ed5cb5c-b82d-4261-a35d-9158526644a8" providerId="ADAL" clId="{35C030BB-6DE3-4411-9D32-74A5ED8F6904}" dt="2021-12-21T12:15:28.990" v="1394" actId="47"/>
        <pc:sldMkLst>
          <pc:docMk/>
          <pc:sldMk cId="2701467447" sldId="2147378093"/>
        </pc:sldMkLst>
        <pc:picChg chg="mod">
          <ac:chgData name="Ekaterina Veselkova" userId="5ed5cb5c-b82d-4261-a35d-9158526644a8" providerId="ADAL" clId="{35C030BB-6DE3-4411-9D32-74A5ED8F6904}" dt="2021-12-21T12:14:06.413" v="1385"/>
          <ac:picMkLst>
            <pc:docMk/>
            <pc:sldMk cId="2701467447" sldId="2147378093"/>
            <ac:picMk id="3" creationId="{A950B360-0A12-48F0-88E8-F8E7CB65FA29}"/>
          </ac:picMkLst>
        </pc:picChg>
      </pc:sldChg>
      <pc:sldChg chg="del">
        <pc:chgData name="Ekaterina Veselkova" userId="5ed5cb5c-b82d-4261-a35d-9158526644a8" providerId="ADAL" clId="{35C030BB-6DE3-4411-9D32-74A5ED8F6904}" dt="2021-12-21T10:01:31.112" v="69" actId="47"/>
        <pc:sldMkLst>
          <pc:docMk/>
          <pc:sldMk cId="1142454612" sldId="2147378094"/>
        </pc:sldMkLst>
      </pc:sldChg>
      <pc:sldChg chg="del">
        <pc:chgData name="Ekaterina Veselkova" userId="5ed5cb5c-b82d-4261-a35d-9158526644a8" providerId="ADAL" clId="{35C030BB-6DE3-4411-9D32-74A5ED8F6904}" dt="2021-12-21T10:01:44.800" v="70" actId="47"/>
        <pc:sldMkLst>
          <pc:docMk/>
          <pc:sldMk cId="3791179547" sldId="2147378095"/>
        </pc:sldMkLst>
      </pc:sldChg>
      <pc:sldChg chg="del">
        <pc:chgData name="Ekaterina Veselkova" userId="5ed5cb5c-b82d-4261-a35d-9158526644a8" providerId="ADAL" clId="{35C030BB-6DE3-4411-9D32-74A5ED8F6904}" dt="2021-12-21T10:01:48.178" v="75" actId="47"/>
        <pc:sldMkLst>
          <pc:docMk/>
          <pc:sldMk cId="138173563" sldId="2147378096"/>
        </pc:sldMkLst>
      </pc:sldChg>
      <pc:sldChg chg="del">
        <pc:chgData name="Ekaterina Veselkova" userId="5ed5cb5c-b82d-4261-a35d-9158526644a8" providerId="ADAL" clId="{35C030BB-6DE3-4411-9D32-74A5ED8F6904}" dt="2021-12-21T10:01:48.757" v="76" actId="47"/>
        <pc:sldMkLst>
          <pc:docMk/>
          <pc:sldMk cId="24549124" sldId="2147378097"/>
        </pc:sldMkLst>
      </pc:sldChg>
      <pc:sldChg chg="addSp delSp modSp mod delAnim modAnim modNotesTx">
        <pc:chgData name="Ekaterina Veselkova" userId="5ed5cb5c-b82d-4261-a35d-9158526644a8" providerId="ADAL" clId="{35C030BB-6DE3-4411-9D32-74A5ED8F6904}" dt="2021-12-23T06:47:55.820" v="11532" actId="3626"/>
        <pc:sldMkLst>
          <pc:docMk/>
          <pc:sldMk cId="1104760365" sldId="2147378098"/>
        </pc:sldMkLst>
        <pc:spChg chg="add mod">
          <ac:chgData name="Ekaterina Veselkova" userId="5ed5cb5c-b82d-4261-a35d-9158526644a8" providerId="ADAL" clId="{35C030BB-6DE3-4411-9D32-74A5ED8F6904}" dt="2021-12-22T09:46:06.399" v="11194" actId="20577"/>
          <ac:spMkLst>
            <pc:docMk/>
            <pc:sldMk cId="1104760365" sldId="2147378098"/>
            <ac:spMk id="17" creationId="{03E04154-A4CD-43D7-A8F2-2F75F55C3E57}"/>
          </ac:spMkLst>
        </pc:spChg>
        <pc:spChg chg="add mod topLvl">
          <ac:chgData name="Ekaterina Veselkova" userId="5ed5cb5c-b82d-4261-a35d-9158526644a8" providerId="ADAL" clId="{35C030BB-6DE3-4411-9D32-74A5ED8F6904}" dt="2021-12-22T09:44:11.925" v="11172" actId="164"/>
          <ac:spMkLst>
            <pc:docMk/>
            <pc:sldMk cId="1104760365" sldId="2147378098"/>
            <ac:spMk id="21" creationId="{E0F9977C-5F69-4E2D-9DA6-CC3E53EB61B6}"/>
          </ac:spMkLst>
        </pc:spChg>
        <pc:spChg chg="add mod">
          <ac:chgData name="Ekaterina Veselkova" userId="5ed5cb5c-b82d-4261-a35d-9158526644a8" providerId="ADAL" clId="{35C030BB-6DE3-4411-9D32-74A5ED8F6904}" dt="2021-12-22T09:47:00.512" v="11214" actId="20577"/>
          <ac:spMkLst>
            <pc:docMk/>
            <pc:sldMk cId="1104760365" sldId="2147378098"/>
            <ac:spMk id="24" creationId="{813723C3-5A43-48AC-AAD9-0825A3A6F889}"/>
          </ac:spMkLst>
        </pc:spChg>
        <pc:spChg chg="add del mod">
          <ac:chgData name="Ekaterina Veselkova" userId="5ed5cb5c-b82d-4261-a35d-9158526644a8" providerId="ADAL" clId="{35C030BB-6DE3-4411-9D32-74A5ED8F6904}" dt="2021-12-22T09:50:58.575" v="11283" actId="767"/>
          <ac:spMkLst>
            <pc:docMk/>
            <pc:sldMk cId="1104760365" sldId="2147378098"/>
            <ac:spMk id="25" creationId="{7E1FC697-2FD3-4CC2-A783-20E935EB2D0F}"/>
          </ac:spMkLst>
        </pc:spChg>
        <pc:spChg chg="add mod">
          <ac:chgData name="Ekaterina Veselkova" userId="5ed5cb5c-b82d-4261-a35d-9158526644a8" providerId="ADAL" clId="{35C030BB-6DE3-4411-9D32-74A5ED8F6904}" dt="2021-12-22T09:51:00.403" v="11285" actId="1076"/>
          <ac:spMkLst>
            <pc:docMk/>
            <pc:sldMk cId="1104760365" sldId="2147378098"/>
            <ac:spMk id="26" creationId="{DD61915D-5B67-4585-A824-263CEE1141F2}"/>
          </ac:spMkLst>
        </pc:spChg>
        <pc:spChg chg="add del mod">
          <ac:chgData name="Ekaterina Veselkova" userId="5ed5cb5c-b82d-4261-a35d-9158526644a8" providerId="ADAL" clId="{35C030BB-6DE3-4411-9D32-74A5ED8F6904}" dt="2021-12-22T09:49:40.627" v="11249"/>
          <ac:spMkLst>
            <pc:docMk/>
            <pc:sldMk cId="1104760365" sldId="2147378098"/>
            <ac:spMk id="27" creationId="{FB5C77B0-A03E-401F-B493-9C615F270D64}"/>
          </ac:spMkLst>
        </pc:spChg>
        <pc:spChg chg="add mod">
          <ac:chgData name="Ekaterina Veselkova" userId="5ed5cb5c-b82d-4261-a35d-9158526644a8" providerId="ADAL" clId="{35C030BB-6DE3-4411-9D32-74A5ED8F6904}" dt="2021-12-22T09:51:21.338" v="11301" actId="113"/>
          <ac:spMkLst>
            <pc:docMk/>
            <pc:sldMk cId="1104760365" sldId="2147378098"/>
            <ac:spMk id="28" creationId="{7924BBD1-68B1-48B2-9846-45B5D8EEF289}"/>
          </ac:spMkLst>
        </pc:spChg>
        <pc:spChg chg="add mod">
          <ac:chgData name="Ekaterina Veselkova" userId="5ed5cb5c-b82d-4261-a35d-9158526644a8" providerId="ADAL" clId="{35C030BB-6DE3-4411-9D32-74A5ED8F6904}" dt="2021-12-22T09:58:58.156" v="11460" actId="1076"/>
          <ac:spMkLst>
            <pc:docMk/>
            <pc:sldMk cId="1104760365" sldId="2147378098"/>
            <ac:spMk id="29" creationId="{7F4B26B8-594E-4268-8DDB-AE11A5DD8CB4}"/>
          </ac:spMkLst>
        </pc:spChg>
        <pc:spChg chg="add mod">
          <ac:chgData name="Ekaterina Veselkova" userId="5ed5cb5c-b82d-4261-a35d-9158526644a8" providerId="ADAL" clId="{35C030BB-6DE3-4411-9D32-74A5ED8F6904}" dt="2021-12-22T09:55:40.146" v="11403" actId="20577"/>
          <ac:spMkLst>
            <pc:docMk/>
            <pc:sldMk cId="1104760365" sldId="2147378098"/>
            <ac:spMk id="31" creationId="{BF2F08C8-E159-44DB-B660-A734ACCF662E}"/>
          </ac:spMkLst>
        </pc:spChg>
        <pc:spChg chg="add del mod">
          <ac:chgData name="Ekaterina Veselkova" userId="5ed5cb5c-b82d-4261-a35d-9158526644a8" providerId="ADAL" clId="{35C030BB-6DE3-4411-9D32-74A5ED8F6904}" dt="2021-12-22T09:59:10.260" v="11461" actId="478"/>
          <ac:spMkLst>
            <pc:docMk/>
            <pc:sldMk cId="1104760365" sldId="2147378098"/>
            <ac:spMk id="32" creationId="{1F8332AC-0CDC-4D1F-AE06-223EF01F1647}"/>
          </ac:spMkLst>
        </pc:spChg>
        <pc:spChg chg="add mod">
          <ac:chgData name="Ekaterina Veselkova" userId="5ed5cb5c-b82d-4261-a35d-9158526644a8" providerId="ADAL" clId="{35C030BB-6DE3-4411-9D32-74A5ED8F6904}" dt="2021-12-22T10:00:19.364" v="11501" actId="1076"/>
          <ac:spMkLst>
            <pc:docMk/>
            <pc:sldMk cId="1104760365" sldId="2147378098"/>
            <ac:spMk id="33" creationId="{C8E29246-F8D3-4E65-A9E0-F4188C4CC1B0}"/>
          </ac:spMkLst>
        </pc:spChg>
        <pc:spChg chg="mod">
          <ac:chgData name="Ekaterina Veselkova" userId="5ed5cb5c-b82d-4261-a35d-9158526644a8" providerId="ADAL" clId="{35C030BB-6DE3-4411-9D32-74A5ED8F6904}" dt="2021-12-22T09:48:56.063" v="11244" actId="1076"/>
          <ac:spMkLst>
            <pc:docMk/>
            <pc:sldMk cId="1104760365" sldId="2147378098"/>
            <ac:spMk id="46" creationId="{00000000-0000-0000-0000-000000000000}"/>
          </ac:spMkLst>
        </pc:spChg>
        <pc:grpChg chg="add del mod">
          <ac:chgData name="Ekaterina Veselkova" userId="5ed5cb5c-b82d-4261-a35d-9158526644a8" providerId="ADAL" clId="{35C030BB-6DE3-4411-9D32-74A5ED8F6904}" dt="2021-12-22T09:43:33.975" v="11166" actId="165"/>
          <ac:grpSpMkLst>
            <pc:docMk/>
            <pc:sldMk cId="1104760365" sldId="2147378098"/>
            <ac:grpSpMk id="22" creationId="{322E2DBA-28B9-4253-857C-3B1D612A0F72}"/>
          </ac:grpSpMkLst>
        </pc:grpChg>
        <pc:grpChg chg="add mod">
          <ac:chgData name="Ekaterina Veselkova" userId="5ed5cb5c-b82d-4261-a35d-9158526644a8" providerId="ADAL" clId="{35C030BB-6DE3-4411-9D32-74A5ED8F6904}" dt="2021-12-22T09:44:11.925" v="11172" actId="164"/>
          <ac:grpSpMkLst>
            <pc:docMk/>
            <pc:sldMk cId="1104760365" sldId="2147378098"/>
            <ac:grpSpMk id="23" creationId="{41B257B9-CB27-4A7C-A65C-C5A0F26D1AE6}"/>
          </ac:grpSpMkLst>
        </pc:grpChg>
        <pc:picChg chg="add del mod">
          <ac:chgData name="Ekaterina Veselkova" userId="5ed5cb5c-b82d-4261-a35d-9158526644a8" providerId="ADAL" clId="{35C030BB-6DE3-4411-9D32-74A5ED8F6904}" dt="2021-12-22T09:51:51.853" v="11304" actId="1076"/>
          <ac:picMkLst>
            <pc:docMk/>
            <pc:sldMk cId="1104760365" sldId="2147378098"/>
            <ac:picMk id="2" creationId="{7A41D119-E403-421E-95C8-B6FBFFB1F860}"/>
          </ac:picMkLst>
        </pc:picChg>
        <pc:picChg chg="del">
          <ac:chgData name="Ekaterina Veselkova" userId="5ed5cb5c-b82d-4261-a35d-9158526644a8" providerId="ADAL" clId="{35C030BB-6DE3-4411-9D32-74A5ED8F6904}" dt="2021-12-21T10:05:25.637" v="92" actId="478"/>
          <ac:picMkLst>
            <pc:docMk/>
            <pc:sldMk cId="1104760365" sldId="2147378098"/>
            <ac:picMk id="2" creationId="{92165FF4-7BDF-4FBD-9F57-7292554ABC0A}"/>
          </ac:picMkLst>
        </pc:picChg>
        <pc:picChg chg="add del mod">
          <ac:chgData name="Ekaterina Veselkova" userId="5ed5cb5c-b82d-4261-a35d-9158526644a8" providerId="ADAL" clId="{35C030BB-6DE3-4411-9D32-74A5ED8F6904}" dt="2021-12-22T09:34:43.349" v="10908" actId="478"/>
          <ac:picMkLst>
            <pc:docMk/>
            <pc:sldMk cId="1104760365" sldId="2147378098"/>
            <ac:picMk id="3" creationId="{4A8152F4-863D-4C41-BE88-F340DBA9F47B}"/>
          </ac:picMkLst>
        </pc:picChg>
        <pc:picChg chg="del mod">
          <ac:chgData name="Ekaterina Veselkova" userId="5ed5cb5c-b82d-4261-a35d-9158526644a8" providerId="ADAL" clId="{35C030BB-6DE3-4411-9D32-74A5ED8F6904}" dt="2021-12-22T09:05:27.174" v="10460" actId="478"/>
          <ac:picMkLst>
            <pc:docMk/>
            <pc:sldMk cId="1104760365" sldId="2147378098"/>
            <ac:picMk id="4" creationId="{2EE06743-C460-4755-9E1F-A3268398E278}"/>
          </ac:picMkLst>
        </pc:picChg>
        <pc:picChg chg="add mod ord">
          <ac:chgData name="Ekaterina Veselkova" userId="5ed5cb5c-b82d-4261-a35d-9158526644a8" providerId="ADAL" clId="{35C030BB-6DE3-4411-9D32-74A5ED8F6904}" dt="2021-12-22T09:51:44.857" v="11302" actId="1076"/>
          <ac:picMkLst>
            <pc:docMk/>
            <pc:sldMk cId="1104760365" sldId="2147378098"/>
            <ac:picMk id="5" creationId="{80D81461-E996-4964-BC55-7CCED0DF13D4}"/>
          </ac:picMkLst>
        </pc:picChg>
        <pc:picChg chg="del mod">
          <ac:chgData name="Ekaterina Veselkova" userId="5ed5cb5c-b82d-4261-a35d-9158526644a8" providerId="ADAL" clId="{35C030BB-6DE3-4411-9D32-74A5ED8F6904}" dt="2021-12-22T09:05:28.094" v="10461" actId="478"/>
          <ac:picMkLst>
            <pc:docMk/>
            <pc:sldMk cId="1104760365" sldId="2147378098"/>
            <ac:picMk id="6" creationId="{3991896D-7514-470C-A1BF-55D05353CCF8}"/>
          </ac:picMkLst>
        </pc:picChg>
        <pc:picChg chg="del mod">
          <ac:chgData name="Ekaterina Veselkova" userId="5ed5cb5c-b82d-4261-a35d-9158526644a8" providerId="ADAL" clId="{35C030BB-6DE3-4411-9D32-74A5ED8F6904}" dt="2021-12-22T09:05:28.624" v="10462" actId="478"/>
          <ac:picMkLst>
            <pc:docMk/>
            <pc:sldMk cId="1104760365" sldId="2147378098"/>
            <ac:picMk id="7" creationId="{5ACFE2D0-45EE-4354-A42A-C164DB8C0E7E}"/>
          </ac:picMkLst>
        </pc:picChg>
        <pc:picChg chg="add mod">
          <ac:chgData name="Ekaterina Veselkova" userId="5ed5cb5c-b82d-4261-a35d-9158526644a8" providerId="ADAL" clId="{35C030BB-6DE3-4411-9D32-74A5ED8F6904}" dt="2021-12-22T09:43:15.454" v="11164" actId="1076"/>
          <ac:picMkLst>
            <pc:docMk/>
            <pc:sldMk cId="1104760365" sldId="2147378098"/>
            <ac:picMk id="10" creationId="{56B80CEF-0FED-4147-9FCF-73E574012DBA}"/>
          </ac:picMkLst>
        </pc:picChg>
        <pc:picChg chg="add del mod">
          <ac:chgData name="Ekaterina Veselkova" userId="5ed5cb5c-b82d-4261-a35d-9158526644a8" providerId="ADAL" clId="{35C030BB-6DE3-4411-9D32-74A5ED8F6904}" dt="2021-12-22T09:51:47.950" v="11303" actId="1076"/>
          <ac:picMkLst>
            <pc:docMk/>
            <pc:sldMk cId="1104760365" sldId="2147378098"/>
            <ac:picMk id="11" creationId="{6CE3C0C5-11D1-4DC4-AA08-AFD2E45D19E5}"/>
          </ac:picMkLst>
        </pc:picChg>
        <pc:picChg chg="del mod ord">
          <ac:chgData name="Ekaterina Veselkova" userId="5ed5cb5c-b82d-4261-a35d-9158526644a8" providerId="ADAL" clId="{35C030BB-6DE3-4411-9D32-74A5ED8F6904}" dt="2021-12-21T10:10:41.392" v="115" actId="478"/>
          <ac:picMkLst>
            <pc:docMk/>
            <pc:sldMk cId="1104760365" sldId="2147378098"/>
            <ac:picMk id="12" creationId="{B354F76E-60F0-4422-813F-E83A668C860B}"/>
          </ac:picMkLst>
        </pc:picChg>
        <pc:picChg chg="del mod">
          <ac:chgData name="Ekaterina Veselkova" userId="5ed5cb5c-b82d-4261-a35d-9158526644a8" providerId="ADAL" clId="{35C030BB-6DE3-4411-9D32-74A5ED8F6904}" dt="2021-12-22T09:05:39.053" v="10465" actId="21"/>
          <ac:picMkLst>
            <pc:docMk/>
            <pc:sldMk cId="1104760365" sldId="2147378098"/>
            <ac:picMk id="13" creationId="{13EE30B7-363E-45E1-B0C6-89A698A1EBC8}"/>
          </ac:picMkLst>
        </pc:picChg>
        <pc:picChg chg="add del mod">
          <ac:chgData name="Ekaterina Veselkova" userId="5ed5cb5c-b82d-4261-a35d-9158526644a8" providerId="ADAL" clId="{35C030BB-6DE3-4411-9D32-74A5ED8F6904}" dt="2021-12-22T09:32:31.125" v="10730" actId="478"/>
          <ac:picMkLst>
            <pc:docMk/>
            <pc:sldMk cId="1104760365" sldId="2147378098"/>
            <ac:picMk id="14" creationId="{279F8975-8F86-466D-88D2-BC6A23F6A8E6}"/>
          </ac:picMkLst>
        </pc:picChg>
        <pc:picChg chg="add del mod">
          <ac:chgData name="Ekaterina Veselkova" userId="5ed5cb5c-b82d-4261-a35d-9158526644a8" providerId="ADAL" clId="{35C030BB-6DE3-4411-9D32-74A5ED8F6904}" dt="2021-12-22T09:39:28.353" v="10935" actId="478"/>
          <ac:picMkLst>
            <pc:docMk/>
            <pc:sldMk cId="1104760365" sldId="2147378098"/>
            <ac:picMk id="16" creationId="{1A1E4E49-E86F-4077-88CF-B4FE790BDA45}"/>
          </ac:picMkLst>
        </pc:picChg>
        <pc:picChg chg="add mod">
          <ac:chgData name="Ekaterina Veselkova" userId="5ed5cb5c-b82d-4261-a35d-9158526644a8" providerId="ADAL" clId="{35C030BB-6DE3-4411-9D32-74A5ED8F6904}" dt="2021-12-23T06:47:55.820" v="11532" actId="3626"/>
          <ac:picMkLst>
            <pc:docMk/>
            <pc:sldMk cId="1104760365" sldId="2147378098"/>
            <ac:picMk id="18" creationId="{7491B62B-3CA8-4CBF-A09A-A6AA01777ED5}"/>
          </ac:picMkLst>
        </pc:picChg>
        <pc:picChg chg="add mod topLvl">
          <ac:chgData name="Ekaterina Veselkova" userId="5ed5cb5c-b82d-4261-a35d-9158526644a8" providerId="ADAL" clId="{35C030BB-6DE3-4411-9D32-74A5ED8F6904}" dt="2021-12-22T09:44:11.925" v="11172" actId="164"/>
          <ac:picMkLst>
            <pc:docMk/>
            <pc:sldMk cId="1104760365" sldId="2147378098"/>
            <ac:picMk id="20" creationId="{08A7A808-906B-4B6A-9F10-01936E4665EF}"/>
          </ac:picMkLst>
        </pc:picChg>
        <pc:picChg chg="add del mod">
          <ac:chgData name="Ekaterina Veselkova" userId="5ed5cb5c-b82d-4261-a35d-9158526644a8" providerId="ADAL" clId="{35C030BB-6DE3-4411-9D32-74A5ED8F6904}" dt="2021-12-22T10:02:45.223" v="11503" actId="478"/>
          <ac:picMkLst>
            <pc:docMk/>
            <pc:sldMk cId="1104760365" sldId="2147378098"/>
            <ac:picMk id="30" creationId="{61F8EB89-BF18-41BB-9B67-789C6571C6D0}"/>
          </ac:picMkLst>
        </pc:picChg>
        <pc:picChg chg="add del mod">
          <ac:chgData name="Ekaterina Veselkova" userId="5ed5cb5c-b82d-4261-a35d-9158526644a8" providerId="ADAL" clId="{35C030BB-6DE3-4411-9D32-74A5ED8F6904}" dt="2021-12-22T10:06:27.264" v="11515" actId="478"/>
          <ac:picMkLst>
            <pc:docMk/>
            <pc:sldMk cId="1104760365" sldId="2147378098"/>
            <ac:picMk id="34" creationId="{279ED69C-62F6-4AAA-B027-153EE96FF1A1}"/>
          </ac:picMkLst>
        </pc:picChg>
        <pc:picChg chg="del">
          <ac:chgData name="Ekaterina Veselkova" userId="5ed5cb5c-b82d-4261-a35d-9158526644a8" providerId="ADAL" clId="{35C030BB-6DE3-4411-9D32-74A5ED8F6904}" dt="2021-12-21T10:04:46.033" v="88" actId="478"/>
          <ac:picMkLst>
            <pc:docMk/>
            <pc:sldMk cId="1104760365" sldId="2147378098"/>
            <ac:picMk id="115" creationId="{785095C2-2D90-4D7F-B085-8F1604837857}"/>
          </ac:picMkLst>
        </pc:picChg>
        <pc:cxnChg chg="del">
          <ac:chgData name="Ekaterina Veselkova" userId="5ed5cb5c-b82d-4261-a35d-9158526644a8" providerId="ADAL" clId="{35C030BB-6DE3-4411-9D32-74A5ED8F6904}" dt="2021-12-22T09:05:30.547" v="10463" actId="478"/>
          <ac:cxnSpMkLst>
            <pc:docMk/>
            <pc:sldMk cId="1104760365" sldId="2147378098"/>
            <ac:cxnSpMk id="9" creationId="{06FB516E-8851-4C4A-A441-9C67694CFE93}"/>
          </ac:cxnSpMkLst>
        </pc:cxnChg>
      </pc:sldChg>
      <pc:sldChg chg="addSp delSp modSp mod modNotesTx">
        <pc:chgData name="Ekaterina Veselkova" userId="5ed5cb5c-b82d-4261-a35d-9158526644a8" providerId="ADAL" clId="{35C030BB-6DE3-4411-9D32-74A5ED8F6904}" dt="2021-12-23T06:45:56.645" v="11527" actId="20577"/>
        <pc:sldMkLst>
          <pc:docMk/>
          <pc:sldMk cId="3589324383" sldId="2147378099"/>
        </pc:sldMkLst>
        <pc:spChg chg="add mod">
          <ac:chgData name="Ekaterina Veselkova" userId="5ed5cb5c-b82d-4261-a35d-9158526644a8" providerId="ADAL" clId="{35C030BB-6DE3-4411-9D32-74A5ED8F6904}" dt="2021-12-22T10:16:23.957" v="11522" actId="20577"/>
          <ac:spMkLst>
            <pc:docMk/>
            <pc:sldMk cId="3589324383" sldId="2147378099"/>
            <ac:spMk id="5" creationId="{4202A5CD-8420-4ABA-B87A-6FB827CCA6D5}"/>
          </ac:spMkLst>
        </pc:spChg>
        <pc:spChg chg="add mod">
          <ac:chgData name="Ekaterina Veselkova" userId="5ed5cb5c-b82d-4261-a35d-9158526644a8" providerId="ADAL" clId="{35C030BB-6DE3-4411-9D32-74A5ED8F6904}" dt="2021-12-21T11:23:02.971" v="381" actId="20577"/>
          <ac:spMkLst>
            <pc:docMk/>
            <pc:sldMk cId="3589324383" sldId="2147378099"/>
            <ac:spMk id="7" creationId="{B182B72A-48BB-45E8-BC61-BFE6871B9C77}"/>
          </ac:spMkLst>
        </pc:spChg>
        <pc:spChg chg="add mod">
          <ac:chgData name="Ekaterina Veselkova" userId="5ed5cb5c-b82d-4261-a35d-9158526644a8" providerId="ADAL" clId="{35C030BB-6DE3-4411-9D32-74A5ED8F6904}" dt="2021-12-22T09:01:25.881" v="10458"/>
          <ac:spMkLst>
            <pc:docMk/>
            <pc:sldMk cId="3589324383" sldId="2147378099"/>
            <ac:spMk id="8" creationId="{F3D17175-94FF-47EE-AF4D-0B3F57B4824C}"/>
          </ac:spMkLst>
        </pc:spChg>
        <pc:spChg chg="add mod">
          <ac:chgData name="Ekaterina Veselkova" userId="5ed5cb5c-b82d-4261-a35d-9158526644a8" providerId="ADAL" clId="{35C030BB-6DE3-4411-9D32-74A5ED8F6904}" dt="2021-12-21T12:10:55.722" v="1149" actId="1076"/>
          <ac:spMkLst>
            <pc:docMk/>
            <pc:sldMk cId="3589324383" sldId="2147378099"/>
            <ac:spMk id="9" creationId="{586D84BD-6B78-4FF9-AC90-C8C1807742B5}"/>
          </ac:spMkLst>
        </pc:spChg>
        <pc:picChg chg="add mod">
          <ac:chgData name="Ekaterina Veselkova" userId="5ed5cb5c-b82d-4261-a35d-9158526644a8" providerId="ADAL" clId="{35C030BB-6DE3-4411-9D32-74A5ED8F6904}" dt="2021-12-21T11:22:33.578" v="361" actId="1076"/>
          <ac:picMkLst>
            <pc:docMk/>
            <pc:sldMk cId="3589324383" sldId="2147378099"/>
            <ac:picMk id="3" creationId="{A3C70CDD-0EF0-457E-850A-78BB195AA3DB}"/>
          </ac:picMkLst>
        </pc:picChg>
        <pc:picChg chg="add mod">
          <ac:chgData name="Ekaterina Veselkova" userId="5ed5cb5c-b82d-4261-a35d-9158526644a8" providerId="ADAL" clId="{35C030BB-6DE3-4411-9D32-74A5ED8F6904}" dt="2021-12-21T11:23:21.847" v="382" actId="14100"/>
          <ac:picMkLst>
            <pc:docMk/>
            <pc:sldMk cId="3589324383" sldId="2147378099"/>
            <ac:picMk id="4" creationId="{75677E55-84E7-43F5-910C-A2F5E6663B2F}"/>
          </ac:picMkLst>
        </pc:picChg>
        <pc:picChg chg="del">
          <ac:chgData name="Ekaterina Veselkova" userId="5ed5cb5c-b82d-4261-a35d-9158526644a8" providerId="ADAL" clId="{35C030BB-6DE3-4411-9D32-74A5ED8F6904}" dt="2021-12-21T10:02:07.740" v="77" actId="21"/>
          <ac:picMkLst>
            <pc:docMk/>
            <pc:sldMk cId="3589324383" sldId="2147378099"/>
            <ac:picMk id="6" creationId="{8026F17C-9F96-40C1-B02F-F39A36EEF178}"/>
          </ac:picMkLst>
        </pc:picChg>
        <pc:picChg chg="add mod">
          <ac:chgData name="Ekaterina Veselkova" userId="5ed5cb5c-b82d-4261-a35d-9158526644a8" providerId="ADAL" clId="{35C030BB-6DE3-4411-9D32-74A5ED8F6904}" dt="2021-12-22T09:01:42.816" v="10459" actId="1076"/>
          <ac:picMkLst>
            <pc:docMk/>
            <pc:sldMk cId="3589324383" sldId="2147378099"/>
            <ac:picMk id="12" creationId="{69A56C3E-6703-46B9-BC02-088C35FDE9A1}"/>
          </ac:picMkLst>
        </pc:picChg>
        <pc:picChg chg="del">
          <ac:chgData name="Ekaterina Veselkova" userId="5ed5cb5c-b82d-4261-a35d-9158526644a8" providerId="ADAL" clId="{35C030BB-6DE3-4411-9D32-74A5ED8F6904}" dt="2021-12-21T10:03:28.475" v="87" actId="478"/>
          <ac:picMkLst>
            <pc:docMk/>
            <pc:sldMk cId="3589324383" sldId="2147378099"/>
            <ac:picMk id="115" creationId="{785095C2-2D90-4D7F-B085-8F1604837857}"/>
          </ac:picMkLst>
        </pc:picChg>
        <pc:cxnChg chg="add mod">
          <ac:chgData name="Ekaterina Veselkova" userId="5ed5cb5c-b82d-4261-a35d-9158526644a8" providerId="ADAL" clId="{35C030BB-6DE3-4411-9D32-74A5ED8F6904}" dt="2021-12-21T11:27:28.681" v="431" actId="1582"/>
          <ac:cxnSpMkLst>
            <pc:docMk/>
            <pc:sldMk cId="3589324383" sldId="2147378099"/>
            <ac:cxnSpMk id="11" creationId="{32B37CBB-9FB9-4182-8C8D-2585B9C92C61}"/>
          </ac:cxnSpMkLst>
        </pc:cxnChg>
      </pc:sldChg>
      <pc:sldChg chg="addSp delSp modSp add del mod">
        <pc:chgData name="Ekaterina Veselkova" userId="5ed5cb5c-b82d-4261-a35d-9158526644a8" providerId="ADAL" clId="{35C030BB-6DE3-4411-9D32-74A5ED8F6904}" dt="2021-12-21T11:14:36.424" v="327" actId="47"/>
        <pc:sldMkLst>
          <pc:docMk/>
          <pc:sldMk cId="3863866252" sldId="2147378100"/>
        </pc:sldMkLst>
        <pc:spChg chg="del mod">
          <ac:chgData name="Ekaterina Veselkova" userId="5ed5cb5c-b82d-4261-a35d-9158526644a8" providerId="ADAL" clId="{35C030BB-6DE3-4411-9D32-74A5ED8F6904}" dt="2021-12-21T11:14:31.930" v="325" actId="21"/>
          <ac:spMkLst>
            <pc:docMk/>
            <pc:sldMk cId="3863866252" sldId="2147378100"/>
            <ac:spMk id="5" creationId="{4202A5CD-8420-4ABA-B87A-6FB827CCA6D5}"/>
          </ac:spMkLst>
        </pc:spChg>
        <pc:picChg chg="add del">
          <ac:chgData name="Ekaterina Veselkova" userId="5ed5cb5c-b82d-4261-a35d-9158526644a8" providerId="ADAL" clId="{35C030BB-6DE3-4411-9D32-74A5ED8F6904}" dt="2021-12-21T10:42:42.822" v="279" actId="478"/>
          <ac:picMkLst>
            <pc:docMk/>
            <pc:sldMk cId="3863866252" sldId="2147378100"/>
            <ac:picMk id="3" creationId="{7EDC7B30-16FF-422E-B77E-B1A520FCF126}"/>
          </ac:picMkLst>
        </pc:picChg>
        <pc:picChg chg="del">
          <ac:chgData name="Ekaterina Veselkova" userId="5ed5cb5c-b82d-4261-a35d-9158526644a8" providerId="ADAL" clId="{35C030BB-6DE3-4411-9D32-74A5ED8F6904}" dt="2021-12-21T10:40:50.883" v="232" actId="478"/>
          <ac:picMkLst>
            <pc:docMk/>
            <pc:sldMk cId="3863866252" sldId="2147378100"/>
            <ac:picMk id="4" creationId="{75677E55-84E7-43F5-910C-A2F5E6663B2F}"/>
          </ac:picMkLst>
        </pc:picChg>
        <pc:picChg chg="add del mod">
          <ac:chgData name="Ekaterina Veselkova" userId="5ed5cb5c-b82d-4261-a35d-9158526644a8" providerId="ADAL" clId="{35C030BB-6DE3-4411-9D32-74A5ED8F6904}" dt="2021-12-21T11:14:23.359" v="323" actId="21"/>
          <ac:picMkLst>
            <pc:docMk/>
            <pc:sldMk cId="3863866252" sldId="2147378100"/>
            <ac:picMk id="7" creationId="{9C11617F-75C9-405B-B57D-BB5D4C0453AF}"/>
          </ac:picMkLst>
        </pc:picChg>
        <pc:picChg chg="add del mod">
          <ac:chgData name="Ekaterina Veselkova" userId="5ed5cb5c-b82d-4261-a35d-9158526644a8" providerId="ADAL" clId="{35C030BB-6DE3-4411-9D32-74A5ED8F6904}" dt="2021-12-21T11:14:23.359" v="323" actId="21"/>
          <ac:picMkLst>
            <pc:docMk/>
            <pc:sldMk cId="3863866252" sldId="2147378100"/>
            <ac:picMk id="8" creationId="{0B2565AB-63A2-428F-921E-6B49C75CB770}"/>
          </ac:picMkLst>
        </pc:picChg>
        <pc:picChg chg="add del mod">
          <ac:chgData name="Ekaterina Veselkova" userId="5ed5cb5c-b82d-4261-a35d-9158526644a8" providerId="ADAL" clId="{35C030BB-6DE3-4411-9D32-74A5ED8F6904}" dt="2021-12-21T11:14:23.359" v="323" actId="21"/>
          <ac:picMkLst>
            <pc:docMk/>
            <pc:sldMk cId="3863866252" sldId="2147378100"/>
            <ac:picMk id="10" creationId="{2922A517-28AE-4CDA-954D-653F2CFD28F2}"/>
          </ac:picMkLst>
        </pc:picChg>
        <pc:picChg chg="add del mod">
          <ac:chgData name="Ekaterina Veselkova" userId="5ed5cb5c-b82d-4261-a35d-9158526644a8" providerId="ADAL" clId="{35C030BB-6DE3-4411-9D32-74A5ED8F6904}" dt="2021-12-21T11:14:23.359" v="323" actId="21"/>
          <ac:picMkLst>
            <pc:docMk/>
            <pc:sldMk cId="3863866252" sldId="2147378100"/>
            <ac:picMk id="12" creationId="{285DC519-8A22-4F85-A77E-E635AF84A572}"/>
          </ac:picMkLst>
        </pc:picChg>
      </pc:sldChg>
      <pc:sldChg chg="addSp delSp modSp add del mod modNotesTx">
        <pc:chgData name="Ekaterina Veselkova" userId="5ed5cb5c-b82d-4261-a35d-9158526644a8" providerId="ADAL" clId="{35C030BB-6DE3-4411-9D32-74A5ED8F6904}" dt="2021-12-22T08:59:39.787" v="10389" actId="47"/>
        <pc:sldMkLst>
          <pc:docMk/>
          <pc:sldMk cId="1348436047" sldId="2147378101"/>
        </pc:sldMkLst>
        <pc:spChg chg="add mod">
          <ac:chgData name="Ekaterina Veselkova" userId="5ed5cb5c-b82d-4261-a35d-9158526644a8" providerId="ADAL" clId="{35C030BB-6DE3-4411-9D32-74A5ED8F6904}" dt="2021-12-21T11:17:45.596" v="340" actId="164"/>
          <ac:spMkLst>
            <pc:docMk/>
            <pc:sldMk cId="1348436047" sldId="2147378101"/>
            <ac:spMk id="2" creationId="{9B8C46A5-1B08-4C03-B862-40398B9ABD24}"/>
          </ac:spMkLst>
        </pc:spChg>
        <pc:spChg chg="del">
          <ac:chgData name="Ekaterina Veselkova" userId="5ed5cb5c-b82d-4261-a35d-9158526644a8" providerId="ADAL" clId="{35C030BB-6DE3-4411-9D32-74A5ED8F6904}" dt="2021-12-21T11:14:17.633" v="322" actId="478"/>
          <ac:spMkLst>
            <pc:docMk/>
            <pc:sldMk cId="1348436047" sldId="2147378101"/>
            <ac:spMk id="5" creationId="{4202A5CD-8420-4ABA-B87A-6FB827CCA6D5}"/>
          </ac:spMkLst>
        </pc:spChg>
        <pc:spChg chg="add mod">
          <ac:chgData name="Ekaterina Veselkova" userId="5ed5cb5c-b82d-4261-a35d-9158526644a8" providerId="ADAL" clId="{35C030BB-6DE3-4411-9D32-74A5ED8F6904}" dt="2021-12-21T11:14:34.252" v="326"/>
          <ac:spMkLst>
            <pc:docMk/>
            <pc:sldMk cId="1348436047" sldId="2147378101"/>
            <ac:spMk id="10" creationId="{4BE03C58-0CC8-4BB1-B347-50CA52F03F51}"/>
          </ac:spMkLst>
        </pc:spChg>
        <pc:grpChg chg="add mod">
          <ac:chgData name="Ekaterina Veselkova" userId="5ed5cb5c-b82d-4261-a35d-9158526644a8" providerId="ADAL" clId="{35C030BB-6DE3-4411-9D32-74A5ED8F6904}" dt="2021-12-21T11:17:45.596" v="340" actId="164"/>
          <ac:grpSpMkLst>
            <pc:docMk/>
            <pc:sldMk cId="1348436047" sldId="2147378101"/>
            <ac:grpSpMk id="3" creationId="{9EE7C721-6A19-41C1-B03D-0CA1239FC9D5}"/>
          </ac:grpSpMkLst>
        </pc:grpChg>
        <pc:picChg chg="del">
          <ac:chgData name="Ekaterina Veselkova" userId="5ed5cb5c-b82d-4261-a35d-9158526644a8" providerId="ADAL" clId="{35C030BB-6DE3-4411-9D32-74A5ED8F6904}" dt="2021-12-21T11:14:14.835" v="321" actId="478"/>
          <ac:picMkLst>
            <pc:docMk/>
            <pc:sldMk cId="1348436047" sldId="2147378101"/>
            <ac:picMk id="4" creationId="{75677E55-84E7-43F5-910C-A2F5E6663B2F}"/>
          </ac:picMkLst>
        </pc:picChg>
        <pc:picChg chg="add mod">
          <ac:chgData name="Ekaterina Veselkova" userId="5ed5cb5c-b82d-4261-a35d-9158526644a8" providerId="ADAL" clId="{35C030BB-6DE3-4411-9D32-74A5ED8F6904}" dt="2021-12-21T11:14:25.734" v="324"/>
          <ac:picMkLst>
            <pc:docMk/>
            <pc:sldMk cId="1348436047" sldId="2147378101"/>
            <ac:picMk id="6" creationId="{65A4FF31-BC4F-47D8-813D-140F722E427F}"/>
          </ac:picMkLst>
        </pc:picChg>
        <pc:picChg chg="add mod">
          <ac:chgData name="Ekaterina Veselkova" userId="5ed5cb5c-b82d-4261-a35d-9158526644a8" providerId="ADAL" clId="{35C030BB-6DE3-4411-9D32-74A5ED8F6904}" dt="2021-12-21T11:18:18.333" v="342" actId="1076"/>
          <ac:picMkLst>
            <pc:docMk/>
            <pc:sldMk cId="1348436047" sldId="2147378101"/>
            <ac:picMk id="7" creationId="{D2EB822F-0E6A-4F4A-A84A-346164E445EE}"/>
          </ac:picMkLst>
        </pc:picChg>
        <pc:picChg chg="add mod">
          <ac:chgData name="Ekaterina Veselkova" userId="5ed5cb5c-b82d-4261-a35d-9158526644a8" providerId="ADAL" clId="{35C030BB-6DE3-4411-9D32-74A5ED8F6904}" dt="2021-12-21T11:14:52.471" v="330" actId="14100"/>
          <ac:picMkLst>
            <pc:docMk/>
            <pc:sldMk cId="1348436047" sldId="2147378101"/>
            <ac:picMk id="8" creationId="{7A38B993-A4C5-44CF-9BD3-72EE553D5808}"/>
          </ac:picMkLst>
        </pc:picChg>
        <pc:picChg chg="add mod">
          <ac:chgData name="Ekaterina Veselkova" userId="5ed5cb5c-b82d-4261-a35d-9158526644a8" providerId="ADAL" clId="{35C030BB-6DE3-4411-9D32-74A5ED8F6904}" dt="2021-12-21T11:17:45.596" v="340" actId="164"/>
          <ac:picMkLst>
            <pc:docMk/>
            <pc:sldMk cId="1348436047" sldId="2147378101"/>
            <ac:picMk id="9" creationId="{5B37BCF8-A266-4682-B03A-7431A9F471AF}"/>
          </ac:picMkLst>
        </pc:picChg>
      </pc:sldChg>
      <pc:sldChg chg="add del">
        <pc:chgData name="Ekaterina Veselkova" userId="5ed5cb5c-b82d-4261-a35d-9158526644a8" providerId="ADAL" clId="{35C030BB-6DE3-4411-9D32-74A5ED8F6904}" dt="2021-12-21T11:14:01.418" v="317" actId="2696"/>
        <pc:sldMkLst>
          <pc:docMk/>
          <pc:sldMk cId="2270068758" sldId="2147378101"/>
        </pc:sldMkLst>
      </pc:sldChg>
      <pc:sldChg chg="add del">
        <pc:chgData name="Ekaterina Veselkova" userId="5ed5cb5c-b82d-4261-a35d-9158526644a8" providerId="ADAL" clId="{35C030BB-6DE3-4411-9D32-74A5ED8F6904}" dt="2021-12-21T11:14:07.851" v="319"/>
        <pc:sldMkLst>
          <pc:docMk/>
          <pc:sldMk cId="3530285014" sldId="2147378101"/>
        </pc:sldMkLst>
      </pc:sldChg>
      <pc:sldChg chg="addSp delSp modSp add mod modNotesTx">
        <pc:chgData name="Ekaterina Veselkova" userId="5ed5cb5c-b82d-4261-a35d-9158526644a8" providerId="ADAL" clId="{35C030BB-6DE3-4411-9D32-74A5ED8F6904}" dt="2021-12-23T06:47:51.243" v="11531" actId="3626"/>
        <pc:sldMkLst>
          <pc:docMk/>
          <pc:sldMk cId="3529002936" sldId="2147378102"/>
        </pc:sldMkLst>
        <pc:spChg chg="add mod">
          <ac:chgData name="Ekaterina Veselkova" userId="5ed5cb5c-b82d-4261-a35d-9158526644a8" providerId="ADAL" clId="{35C030BB-6DE3-4411-9D32-74A5ED8F6904}" dt="2021-12-22T09:18:30.143" v="10557" actId="1076"/>
          <ac:spMkLst>
            <pc:docMk/>
            <pc:sldMk cId="3529002936" sldId="2147378102"/>
            <ac:spMk id="3" creationId="{19A39724-D2D5-42A7-A947-551DEE9C71CD}"/>
          </ac:spMkLst>
        </pc:spChg>
        <pc:spChg chg="mod">
          <ac:chgData name="Ekaterina Veselkova" userId="5ed5cb5c-b82d-4261-a35d-9158526644a8" providerId="ADAL" clId="{35C030BB-6DE3-4411-9D32-74A5ED8F6904}" dt="2021-12-22T09:20:37.212" v="10704" actId="20577"/>
          <ac:spMkLst>
            <pc:docMk/>
            <pc:sldMk cId="3529002936" sldId="2147378102"/>
            <ac:spMk id="5" creationId="{4202A5CD-8420-4ABA-B87A-6FB827CCA6D5}"/>
          </ac:spMkLst>
        </pc:spChg>
        <pc:spChg chg="del">
          <ac:chgData name="Ekaterina Veselkova" userId="5ed5cb5c-b82d-4261-a35d-9158526644a8" providerId="ADAL" clId="{35C030BB-6DE3-4411-9D32-74A5ED8F6904}" dt="2021-12-21T11:30:11.131" v="538" actId="478"/>
          <ac:spMkLst>
            <pc:docMk/>
            <pc:sldMk cId="3529002936" sldId="2147378102"/>
            <ac:spMk id="7" creationId="{B182B72A-48BB-45E8-BC61-BFE6871B9C77}"/>
          </ac:spMkLst>
        </pc:spChg>
        <pc:spChg chg="del">
          <ac:chgData name="Ekaterina Veselkova" userId="5ed5cb5c-b82d-4261-a35d-9158526644a8" providerId="ADAL" clId="{35C030BB-6DE3-4411-9D32-74A5ED8F6904}" dt="2021-12-21T11:30:02.157" v="534" actId="478"/>
          <ac:spMkLst>
            <pc:docMk/>
            <pc:sldMk cId="3529002936" sldId="2147378102"/>
            <ac:spMk id="8" creationId="{F3D17175-94FF-47EE-AF4D-0B3F57B4824C}"/>
          </ac:spMkLst>
        </pc:spChg>
        <pc:spChg chg="del">
          <ac:chgData name="Ekaterina Veselkova" userId="5ed5cb5c-b82d-4261-a35d-9158526644a8" providerId="ADAL" clId="{35C030BB-6DE3-4411-9D32-74A5ED8F6904}" dt="2021-12-21T11:30:05.081" v="535" actId="478"/>
          <ac:spMkLst>
            <pc:docMk/>
            <pc:sldMk cId="3529002936" sldId="2147378102"/>
            <ac:spMk id="9" creationId="{586D84BD-6B78-4FF9-AC90-C8C1807742B5}"/>
          </ac:spMkLst>
        </pc:spChg>
        <pc:spChg chg="add mod">
          <ac:chgData name="Ekaterina Veselkova" userId="5ed5cb5c-b82d-4261-a35d-9158526644a8" providerId="ADAL" clId="{35C030BB-6DE3-4411-9D32-74A5ED8F6904}" dt="2021-12-22T09:07:28.266" v="10473" actId="1076"/>
          <ac:spMkLst>
            <pc:docMk/>
            <pc:sldMk cId="3529002936" sldId="2147378102"/>
            <ac:spMk id="19" creationId="{6C4C109D-E3C5-45E4-B92B-D1A956CAEB7F}"/>
          </ac:spMkLst>
        </pc:spChg>
        <pc:spChg chg="add del mod">
          <ac:chgData name="Ekaterina Veselkova" userId="5ed5cb5c-b82d-4261-a35d-9158526644a8" providerId="ADAL" clId="{35C030BB-6DE3-4411-9D32-74A5ED8F6904}" dt="2021-12-21T12:05:13.484" v="1124" actId="478"/>
          <ac:spMkLst>
            <pc:docMk/>
            <pc:sldMk cId="3529002936" sldId="2147378102"/>
            <ac:spMk id="20" creationId="{01A12474-896B-4A58-ADFB-A59CCF168B3D}"/>
          </ac:spMkLst>
        </pc:spChg>
        <pc:picChg chg="add mod">
          <ac:chgData name="Ekaterina Veselkova" userId="5ed5cb5c-b82d-4261-a35d-9158526644a8" providerId="ADAL" clId="{35C030BB-6DE3-4411-9D32-74A5ED8F6904}" dt="2021-12-23T06:47:51.243" v="11531" actId="3626"/>
          <ac:picMkLst>
            <pc:docMk/>
            <pc:sldMk cId="3529002936" sldId="2147378102"/>
            <ac:picMk id="2" creationId="{068A1B28-E809-4CD7-9FE4-2B662AA2FF77}"/>
          </ac:picMkLst>
        </pc:picChg>
        <pc:picChg chg="del">
          <ac:chgData name="Ekaterina Veselkova" userId="5ed5cb5c-b82d-4261-a35d-9158526644a8" providerId="ADAL" clId="{35C030BB-6DE3-4411-9D32-74A5ED8F6904}" dt="2021-12-21T11:30:09.258" v="537" actId="478"/>
          <ac:picMkLst>
            <pc:docMk/>
            <pc:sldMk cId="3529002936" sldId="2147378102"/>
            <ac:picMk id="3" creationId="{A3C70CDD-0EF0-457E-850A-78BB195AA3DB}"/>
          </ac:picMkLst>
        </pc:picChg>
        <pc:picChg chg="add del">
          <ac:chgData name="Ekaterina Veselkova" userId="5ed5cb5c-b82d-4261-a35d-9158526644a8" providerId="ADAL" clId="{35C030BB-6DE3-4411-9D32-74A5ED8F6904}" dt="2021-12-21T11:29:52.363" v="529" actId="478"/>
          <ac:picMkLst>
            <pc:docMk/>
            <pc:sldMk cId="3529002936" sldId="2147378102"/>
            <ac:picMk id="4" creationId="{75677E55-84E7-43F5-910C-A2F5E6663B2F}"/>
          </ac:picMkLst>
        </pc:picChg>
        <pc:picChg chg="add del mod">
          <ac:chgData name="Ekaterina Veselkova" userId="5ed5cb5c-b82d-4261-a35d-9158526644a8" providerId="ADAL" clId="{35C030BB-6DE3-4411-9D32-74A5ED8F6904}" dt="2021-12-22T09:18:34.494" v="10558" actId="478"/>
          <ac:picMkLst>
            <pc:docMk/>
            <pc:sldMk cId="3529002936" sldId="2147378102"/>
            <ac:picMk id="6" creationId="{15389C51-30E2-4414-8AE1-5977F3B8D2D0}"/>
          </ac:picMkLst>
        </pc:picChg>
        <pc:picChg chg="add del mod">
          <ac:chgData name="Ekaterina Veselkova" userId="5ed5cb5c-b82d-4261-a35d-9158526644a8" providerId="ADAL" clId="{35C030BB-6DE3-4411-9D32-74A5ED8F6904}" dt="2021-12-21T11:33:05.963" v="543" actId="478"/>
          <ac:picMkLst>
            <pc:docMk/>
            <pc:sldMk cId="3529002936" sldId="2147378102"/>
            <ac:picMk id="6" creationId="{23C73508-1434-431F-9A2A-D267B137AF7D}"/>
          </ac:picMkLst>
        </pc:picChg>
        <pc:picChg chg="add mod">
          <ac:chgData name="Ekaterina Veselkova" userId="5ed5cb5c-b82d-4261-a35d-9158526644a8" providerId="ADAL" clId="{35C030BB-6DE3-4411-9D32-74A5ED8F6904}" dt="2021-12-22T09:18:15.494" v="10553" actId="208"/>
          <ac:picMkLst>
            <pc:docMk/>
            <pc:sldMk cId="3529002936" sldId="2147378102"/>
            <ac:picMk id="8" creationId="{A37C24B9-D015-418B-A383-42CC2784D215}"/>
          </ac:picMkLst>
        </pc:picChg>
        <pc:picChg chg="add del mod">
          <ac:chgData name="Ekaterina Veselkova" userId="5ed5cb5c-b82d-4261-a35d-9158526644a8" providerId="ADAL" clId="{35C030BB-6DE3-4411-9D32-74A5ED8F6904}" dt="2021-12-22T09:14:31.570" v="10514" actId="478"/>
          <ac:picMkLst>
            <pc:docMk/>
            <pc:sldMk cId="3529002936" sldId="2147378102"/>
            <ac:picMk id="10" creationId="{1BBEF0B3-6A43-41B9-A3FD-8D24FBA25DD1}"/>
          </ac:picMkLst>
        </pc:picChg>
        <pc:picChg chg="add del mod">
          <ac:chgData name="Ekaterina Veselkova" userId="5ed5cb5c-b82d-4261-a35d-9158526644a8" providerId="ADAL" clId="{35C030BB-6DE3-4411-9D32-74A5ED8F6904}" dt="2021-12-21T11:39:27.209" v="741" actId="478"/>
          <ac:picMkLst>
            <pc:docMk/>
            <pc:sldMk cId="3529002936" sldId="2147378102"/>
            <ac:picMk id="10" creationId="{3F6AC7BE-7ED5-47FB-910C-2C3F786BA441}"/>
          </ac:picMkLst>
        </pc:picChg>
        <pc:picChg chg="add mod">
          <ac:chgData name="Ekaterina Veselkova" userId="5ed5cb5c-b82d-4261-a35d-9158526644a8" providerId="ADAL" clId="{35C030BB-6DE3-4411-9D32-74A5ED8F6904}" dt="2021-12-22T09:18:17.664" v="10554" actId="208"/>
          <ac:picMkLst>
            <pc:docMk/>
            <pc:sldMk cId="3529002936" sldId="2147378102"/>
            <ac:picMk id="12" creationId="{ECE4AB78-4E1D-430D-B0CC-2C1F6C03A48D}"/>
          </ac:picMkLst>
        </pc:picChg>
        <pc:picChg chg="add mod">
          <ac:chgData name="Ekaterina Veselkova" userId="5ed5cb5c-b82d-4261-a35d-9158526644a8" providerId="ADAL" clId="{35C030BB-6DE3-4411-9D32-74A5ED8F6904}" dt="2021-12-22T09:16:27.455" v="10535" actId="1076"/>
          <ac:picMkLst>
            <pc:docMk/>
            <pc:sldMk cId="3529002936" sldId="2147378102"/>
            <ac:picMk id="13" creationId="{366BC6B8-311A-4E51-9B31-EEAD189EDF7D}"/>
          </ac:picMkLst>
        </pc:picChg>
        <pc:picChg chg="add mod">
          <ac:chgData name="Ekaterina Veselkova" userId="5ed5cb5c-b82d-4261-a35d-9158526644a8" providerId="ADAL" clId="{35C030BB-6DE3-4411-9D32-74A5ED8F6904}" dt="2021-12-22T09:16:28.871" v="10536" actId="1076"/>
          <ac:picMkLst>
            <pc:docMk/>
            <pc:sldMk cId="3529002936" sldId="2147378102"/>
            <ac:picMk id="15" creationId="{7ADCBFDD-E3E0-4FBD-A4C2-04EA3696F09B}"/>
          </ac:picMkLst>
        </pc:picChg>
        <pc:picChg chg="add mod">
          <ac:chgData name="Ekaterina Veselkova" userId="5ed5cb5c-b82d-4261-a35d-9158526644a8" providerId="ADAL" clId="{35C030BB-6DE3-4411-9D32-74A5ED8F6904}" dt="2021-12-22T09:19:07.681" v="10560" actId="14100"/>
          <ac:picMkLst>
            <pc:docMk/>
            <pc:sldMk cId="3529002936" sldId="2147378102"/>
            <ac:picMk id="16" creationId="{55567919-50EC-4E44-8D9D-30BBB52B701D}"/>
          </ac:picMkLst>
        </pc:picChg>
        <pc:picChg chg="add mod">
          <ac:chgData name="Ekaterina Veselkova" userId="5ed5cb5c-b82d-4261-a35d-9158526644a8" providerId="ADAL" clId="{35C030BB-6DE3-4411-9D32-74A5ED8F6904}" dt="2021-12-22T09:18:19.856" v="10555" actId="208"/>
          <ac:picMkLst>
            <pc:docMk/>
            <pc:sldMk cId="3529002936" sldId="2147378102"/>
            <ac:picMk id="17" creationId="{D0FE72EB-9178-4F82-9729-3CC93C7CBDFB}"/>
          </ac:picMkLst>
        </pc:picChg>
        <pc:picChg chg="add del mod">
          <ac:chgData name="Ekaterina Veselkova" userId="5ed5cb5c-b82d-4261-a35d-9158526644a8" providerId="ADAL" clId="{35C030BB-6DE3-4411-9D32-74A5ED8F6904}" dt="2021-12-22T09:05:34.788" v="10464" actId="478"/>
          <ac:picMkLst>
            <pc:docMk/>
            <pc:sldMk cId="3529002936" sldId="2147378102"/>
            <ac:picMk id="18" creationId="{5CB4706C-05CA-4B58-B0B8-A3885392B49D}"/>
          </ac:picMkLst>
        </pc:picChg>
        <pc:picChg chg="add mod">
          <ac:chgData name="Ekaterina Veselkova" userId="5ed5cb5c-b82d-4261-a35d-9158526644a8" providerId="ADAL" clId="{35C030BB-6DE3-4411-9D32-74A5ED8F6904}" dt="2021-12-22T09:17:32.535" v="10545" actId="1076"/>
          <ac:picMkLst>
            <pc:docMk/>
            <pc:sldMk cId="3529002936" sldId="2147378102"/>
            <ac:picMk id="21" creationId="{27778350-CDA0-4D22-8998-9EFFA485E8A5}"/>
          </ac:picMkLst>
        </pc:picChg>
        <pc:picChg chg="add del mod">
          <ac:chgData name="Ekaterina Veselkova" userId="5ed5cb5c-b82d-4261-a35d-9158526644a8" providerId="ADAL" clId="{35C030BB-6DE3-4411-9D32-74A5ED8F6904}" dt="2021-12-21T12:10:28.419" v="1146" actId="21"/>
          <ac:picMkLst>
            <pc:docMk/>
            <pc:sldMk cId="3529002936" sldId="2147378102"/>
            <ac:picMk id="22" creationId="{82326037-5975-4555-97BD-5B3564E9D107}"/>
          </ac:picMkLst>
        </pc:picChg>
        <pc:cxnChg chg="del">
          <ac:chgData name="Ekaterina Veselkova" userId="5ed5cb5c-b82d-4261-a35d-9158526644a8" providerId="ADAL" clId="{35C030BB-6DE3-4411-9D32-74A5ED8F6904}" dt="2021-12-21T11:30:08.373" v="536" actId="478"/>
          <ac:cxnSpMkLst>
            <pc:docMk/>
            <pc:sldMk cId="3529002936" sldId="2147378102"/>
            <ac:cxnSpMk id="11" creationId="{32B37CBB-9FB9-4182-8C8D-2585B9C92C61}"/>
          </ac:cxnSpMkLst>
        </pc:cxnChg>
      </pc:sldChg>
      <pc:sldChg chg="addSp delSp modSp add mod modNotesTx">
        <pc:chgData name="Ekaterina Veselkova" userId="5ed5cb5c-b82d-4261-a35d-9158526644a8" providerId="ADAL" clId="{35C030BB-6DE3-4411-9D32-74A5ED8F6904}" dt="2021-12-23T06:45:37.894" v="11524" actId="20577"/>
        <pc:sldMkLst>
          <pc:docMk/>
          <pc:sldMk cId="1426260804" sldId="2147378103"/>
        </pc:sldMkLst>
        <pc:spChg chg="del">
          <ac:chgData name="Ekaterina Veselkova" userId="5ed5cb5c-b82d-4261-a35d-9158526644a8" providerId="ADAL" clId="{35C030BB-6DE3-4411-9D32-74A5ED8F6904}" dt="2021-12-21T12:14:59.599" v="1390" actId="478"/>
          <ac:spMkLst>
            <pc:docMk/>
            <pc:sldMk cId="1426260804" sldId="2147378103"/>
            <ac:spMk id="13" creationId="{A4FEDAE8-8A78-4057-B0E8-0B4F3C14CFB7}"/>
          </ac:spMkLst>
        </pc:spChg>
        <pc:spChg chg="del">
          <ac:chgData name="Ekaterina Veselkova" userId="5ed5cb5c-b82d-4261-a35d-9158526644a8" providerId="ADAL" clId="{35C030BB-6DE3-4411-9D32-74A5ED8F6904}" dt="2021-12-21T12:15:02.151" v="1391" actId="478"/>
          <ac:spMkLst>
            <pc:docMk/>
            <pc:sldMk cId="1426260804" sldId="2147378103"/>
            <ac:spMk id="30" creationId="{2125D8B3-FC95-409F-B1E1-F1057A801912}"/>
          </ac:spMkLst>
        </pc:spChg>
        <pc:picChg chg="del">
          <ac:chgData name="Ekaterina Veselkova" userId="5ed5cb5c-b82d-4261-a35d-9158526644a8" providerId="ADAL" clId="{35C030BB-6DE3-4411-9D32-74A5ED8F6904}" dt="2021-12-21T12:14:57.634" v="1389" actId="478"/>
          <ac:picMkLst>
            <pc:docMk/>
            <pc:sldMk cId="1426260804" sldId="2147378103"/>
            <ac:picMk id="4" creationId="{537BB24B-3223-4FAF-9D8C-5E93CCF45B26}"/>
          </ac:picMkLst>
        </pc:picChg>
        <pc:picChg chg="del">
          <ac:chgData name="Ekaterina Veselkova" userId="5ed5cb5c-b82d-4261-a35d-9158526644a8" providerId="ADAL" clId="{35C030BB-6DE3-4411-9D32-74A5ED8F6904}" dt="2021-12-21T12:15:04.747" v="1392" actId="478"/>
          <ac:picMkLst>
            <pc:docMk/>
            <pc:sldMk cId="1426260804" sldId="2147378103"/>
            <ac:picMk id="9" creationId="{32EBE158-A202-4847-AAF9-AA2F304C91FC}"/>
          </ac:picMkLst>
        </pc:picChg>
        <pc:picChg chg="add mod">
          <ac:chgData name="Ekaterina Veselkova" userId="5ed5cb5c-b82d-4261-a35d-9158526644a8" providerId="ADAL" clId="{35C030BB-6DE3-4411-9D32-74A5ED8F6904}" dt="2021-12-21T12:15:36.979" v="1396" actId="14100"/>
          <ac:picMkLst>
            <pc:docMk/>
            <pc:sldMk cId="1426260804" sldId="2147378103"/>
            <ac:picMk id="11" creationId="{756F4E81-212D-47E0-825F-0B448EECD7B5}"/>
          </ac:picMkLst>
        </pc:picChg>
      </pc:sldChg>
      <pc:sldChg chg="add del">
        <pc:chgData name="Ekaterina Veselkova" userId="5ed5cb5c-b82d-4261-a35d-9158526644a8" providerId="ADAL" clId="{35C030BB-6DE3-4411-9D32-74A5ED8F6904}" dt="2021-12-21T12:14:51.228" v="1387" actId="2696"/>
        <pc:sldMkLst>
          <pc:docMk/>
          <pc:sldMk cId="2679518356" sldId="2147378103"/>
        </pc:sldMkLst>
      </pc:sldChg>
      <pc:sldMasterChg chg="delSldLayout">
        <pc:chgData name="Ekaterina Veselkova" userId="5ed5cb5c-b82d-4261-a35d-9158526644a8" providerId="ADAL" clId="{35C030BB-6DE3-4411-9D32-74A5ED8F6904}" dt="2021-12-21T11:14:36.424" v="327" actId="47"/>
        <pc:sldMasterMkLst>
          <pc:docMk/>
          <pc:sldMasterMk cId="946163275" sldId="2147483648"/>
        </pc:sldMasterMkLst>
        <pc:sldLayoutChg chg="del">
          <pc:chgData name="Ekaterina Veselkova" userId="5ed5cb5c-b82d-4261-a35d-9158526644a8" providerId="ADAL" clId="{35C030BB-6DE3-4411-9D32-74A5ED8F6904}" dt="2021-12-21T10:01:44.800" v="70" actId="47"/>
          <pc:sldLayoutMkLst>
            <pc:docMk/>
            <pc:sldMasterMk cId="946163275" sldId="2147483648"/>
            <pc:sldLayoutMk cId="1737687088" sldId="2147483775"/>
          </pc:sldLayoutMkLst>
        </pc:sldLayoutChg>
        <pc:sldLayoutChg chg="del">
          <pc:chgData name="Ekaterina Veselkova" userId="5ed5cb5c-b82d-4261-a35d-9158526644a8" providerId="ADAL" clId="{35C030BB-6DE3-4411-9D32-74A5ED8F6904}" dt="2021-12-21T11:14:36.424" v="327" actId="47"/>
          <pc:sldLayoutMkLst>
            <pc:docMk/>
            <pc:sldMasterMk cId="946163275" sldId="2147483648"/>
            <pc:sldLayoutMk cId="2210422060" sldId="2147483775"/>
          </pc:sldLayoutMkLst>
        </pc:sldLayoutChg>
      </pc:sldMasterChg>
    </pc:docChg>
  </pc:docChgLst>
  <pc:docChgLst>
    <pc:chgData name="Aleksey Vorobiev" userId="S::voroba03@heiway.net::52642ff6-7a44-4023-980b-a60fecfa25de" providerId="AD" clId="Web-{AECF89F6-A798-EE88-E13C-F8ADAC8B0ACA}"/>
    <pc:docChg chg="modSld">
      <pc:chgData name="Aleksey Vorobiev" userId="S::voroba03@heiway.net::52642ff6-7a44-4023-980b-a60fecfa25de" providerId="AD" clId="Web-{AECF89F6-A798-EE88-E13C-F8ADAC8B0ACA}" dt="2021-06-29T13:34:29.918" v="147" actId="1076"/>
      <pc:docMkLst>
        <pc:docMk/>
      </pc:docMkLst>
      <pc:sldChg chg="modSp">
        <pc:chgData name="Aleksey Vorobiev" userId="S::voroba03@heiway.net::52642ff6-7a44-4023-980b-a60fecfa25de" providerId="AD" clId="Web-{AECF89F6-A798-EE88-E13C-F8ADAC8B0ACA}" dt="2021-06-29T13:34:29.918" v="147" actId="1076"/>
        <pc:sldMkLst>
          <pc:docMk/>
          <pc:sldMk cId="3780737834" sldId="578"/>
        </pc:sldMkLst>
        <pc:spChg chg="mod">
          <ac:chgData name="Aleksey Vorobiev" userId="S::voroba03@heiway.net::52642ff6-7a44-4023-980b-a60fecfa25de" providerId="AD" clId="Web-{AECF89F6-A798-EE88-E13C-F8ADAC8B0ACA}" dt="2021-06-29T13:31:45.711" v="24" actId="20577"/>
          <ac:spMkLst>
            <pc:docMk/>
            <pc:sldMk cId="3780737834" sldId="578"/>
            <ac:spMk id="32" creationId="{1DFC8936-1B3A-4A51-9CBD-8251E7590D80}"/>
          </ac:spMkLst>
        </pc:spChg>
        <pc:spChg chg="mod">
          <ac:chgData name="Aleksey Vorobiev" userId="S::voroba03@heiway.net::52642ff6-7a44-4023-980b-a60fecfa25de" providerId="AD" clId="Web-{AECF89F6-A798-EE88-E13C-F8ADAC8B0ACA}" dt="2021-06-29T13:32:21.290" v="80" actId="20577"/>
          <ac:spMkLst>
            <pc:docMk/>
            <pc:sldMk cId="3780737834" sldId="578"/>
            <ac:spMk id="35" creationId="{DE5C8936-CD05-42F3-A12F-F5DCFF024749}"/>
          </ac:spMkLst>
        </pc:spChg>
        <pc:spChg chg="mod">
          <ac:chgData name="Aleksey Vorobiev" userId="S::voroba03@heiway.net::52642ff6-7a44-4023-980b-a60fecfa25de" providerId="AD" clId="Web-{AECF89F6-A798-EE88-E13C-F8ADAC8B0ACA}" dt="2021-06-29T13:34:29.918" v="147" actId="1076"/>
          <ac:spMkLst>
            <pc:docMk/>
            <pc:sldMk cId="3780737834" sldId="578"/>
            <ac:spMk id="39" creationId="{8C8DC0B1-9A10-4768-A2FE-9420004BF5B8}"/>
          </ac:spMkLst>
        </pc:spChg>
      </pc:sldChg>
    </pc:docChg>
  </pc:docChgLst>
  <pc:docChgLst>
    <pc:chgData name="Ekaterina Veselkova" userId="5ed5cb5c-b82d-4261-a35d-9158526644a8" providerId="ADAL" clId="{6F0DA784-1FDB-4430-B10C-5D4AC850F021}"/>
    <pc:docChg chg="undo custSel addSld delSld modSld">
      <pc:chgData name="Ekaterina Veselkova" userId="5ed5cb5c-b82d-4261-a35d-9158526644a8" providerId="ADAL" clId="{6F0DA784-1FDB-4430-B10C-5D4AC850F021}" dt="2021-12-16T07:48:08.345" v="618" actId="1076"/>
      <pc:docMkLst>
        <pc:docMk/>
      </pc:docMkLst>
      <pc:sldChg chg="del">
        <pc:chgData name="Ekaterina Veselkova" userId="5ed5cb5c-b82d-4261-a35d-9158526644a8" providerId="ADAL" clId="{6F0DA784-1FDB-4430-B10C-5D4AC850F021}" dt="2021-12-15T10:23:56.582" v="176" actId="47"/>
        <pc:sldMkLst>
          <pc:docMk/>
          <pc:sldMk cId="3361680876" sldId="291"/>
        </pc:sldMkLst>
      </pc:sldChg>
      <pc:sldChg chg="modSp add del mod">
        <pc:chgData name="Ekaterina Veselkova" userId="5ed5cb5c-b82d-4261-a35d-9158526644a8" providerId="ADAL" clId="{6F0DA784-1FDB-4430-B10C-5D4AC850F021}" dt="2021-12-15T10:22:45.483" v="138" actId="20577"/>
        <pc:sldMkLst>
          <pc:docMk/>
          <pc:sldMk cId="3296451063" sldId="302"/>
        </pc:sldMkLst>
        <pc:spChg chg="mod">
          <ac:chgData name="Ekaterina Veselkova" userId="5ed5cb5c-b82d-4261-a35d-9158526644a8" providerId="ADAL" clId="{6F0DA784-1FDB-4430-B10C-5D4AC850F021}" dt="2021-12-15T10:22:45.483" v="138" actId="20577"/>
          <ac:spMkLst>
            <pc:docMk/>
            <pc:sldMk cId="3296451063" sldId="302"/>
            <ac:spMk id="2" creationId="{24CF2D1E-5372-44AA-8583-8D7F940E01E0}"/>
          </ac:spMkLst>
        </pc:spChg>
        <pc:picChg chg="mod">
          <ac:chgData name="Ekaterina Veselkova" userId="5ed5cb5c-b82d-4261-a35d-9158526644a8" providerId="ADAL" clId="{6F0DA784-1FDB-4430-B10C-5D4AC850F021}" dt="2021-12-15T10:22:22.376" v="115" actId="14100"/>
          <ac:picMkLst>
            <pc:docMk/>
            <pc:sldMk cId="3296451063" sldId="302"/>
            <ac:picMk id="3" creationId="{00000000-0000-0000-0000-000000000000}"/>
          </ac:picMkLst>
        </pc:picChg>
      </pc:sldChg>
      <pc:sldChg chg="modSp mod">
        <pc:chgData name="Ekaterina Veselkova" userId="5ed5cb5c-b82d-4261-a35d-9158526644a8" providerId="ADAL" clId="{6F0DA784-1FDB-4430-B10C-5D4AC850F021}" dt="2021-12-15T10:20:50.006" v="107" actId="20577"/>
        <pc:sldMkLst>
          <pc:docMk/>
          <pc:sldMk cId="1396317339" sldId="304"/>
        </pc:sldMkLst>
        <pc:spChg chg="mod">
          <ac:chgData name="Ekaterina Veselkova" userId="5ed5cb5c-b82d-4261-a35d-9158526644a8" providerId="ADAL" clId="{6F0DA784-1FDB-4430-B10C-5D4AC850F021}" dt="2021-12-15T10:11:55.315" v="78" actId="20577"/>
          <ac:spMkLst>
            <pc:docMk/>
            <pc:sldMk cId="1396317339" sldId="304"/>
            <ac:spMk id="15" creationId="{3672572C-2131-4986-B343-6702207EDACD}"/>
          </ac:spMkLst>
        </pc:spChg>
        <pc:spChg chg="mod">
          <ac:chgData name="Ekaterina Veselkova" userId="5ed5cb5c-b82d-4261-a35d-9158526644a8" providerId="ADAL" clId="{6F0DA784-1FDB-4430-B10C-5D4AC850F021}" dt="2021-12-15T10:20:50.006" v="107" actId="20577"/>
          <ac:spMkLst>
            <pc:docMk/>
            <pc:sldMk cId="1396317339" sldId="304"/>
            <ac:spMk id="18" creationId="{B3519AA9-9EDC-4A35-90F9-C6C951C85B20}"/>
          </ac:spMkLst>
        </pc:spChg>
      </pc:sldChg>
      <pc:sldChg chg="modNotesTx">
        <pc:chgData name="Ekaterina Veselkova" userId="5ed5cb5c-b82d-4261-a35d-9158526644a8" providerId="ADAL" clId="{6F0DA784-1FDB-4430-B10C-5D4AC850F021}" dt="2021-12-15T10:39:29.117" v="315" actId="6549"/>
        <pc:sldMkLst>
          <pc:docMk/>
          <pc:sldMk cId="3270251873" sldId="357"/>
        </pc:sldMkLst>
      </pc:sldChg>
      <pc:sldChg chg="delSp add del mod">
        <pc:chgData name="Ekaterina Veselkova" userId="5ed5cb5c-b82d-4261-a35d-9158526644a8" providerId="ADAL" clId="{6F0DA784-1FDB-4430-B10C-5D4AC850F021}" dt="2021-12-16T07:44:20.484" v="614" actId="47"/>
        <pc:sldMkLst>
          <pc:docMk/>
          <pc:sldMk cId="1144690327" sldId="371"/>
        </pc:sldMkLst>
        <pc:spChg chg="del">
          <ac:chgData name="Ekaterina Veselkova" userId="5ed5cb5c-b82d-4261-a35d-9158526644a8" providerId="ADAL" clId="{6F0DA784-1FDB-4430-B10C-5D4AC850F021}" dt="2021-12-16T07:44:13.816" v="613" actId="478"/>
          <ac:spMkLst>
            <pc:docMk/>
            <pc:sldMk cId="1144690327" sldId="371"/>
            <ac:spMk id="20" creationId="{638DBD02-8D29-43E1-B024-5B449D836D24}"/>
          </ac:spMkLst>
        </pc:spChg>
        <pc:picChg chg="del">
          <ac:chgData name="Ekaterina Veselkova" userId="5ed5cb5c-b82d-4261-a35d-9158526644a8" providerId="ADAL" clId="{6F0DA784-1FDB-4430-B10C-5D4AC850F021}" dt="2021-12-16T07:44:06.615" v="611" actId="478"/>
          <ac:picMkLst>
            <pc:docMk/>
            <pc:sldMk cId="1144690327" sldId="371"/>
            <ac:picMk id="18" creationId="{00000000-0000-0000-0000-000000000000}"/>
          </ac:picMkLst>
        </pc:picChg>
        <pc:picChg chg="del">
          <ac:chgData name="Ekaterina Veselkova" userId="5ed5cb5c-b82d-4261-a35d-9158526644a8" providerId="ADAL" clId="{6F0DA784-1FDB-4430-B10C-5D4AC850F021}" dt="2021-12-16T07:44:11.840" v="612" actId="478"/>
          <ac:picMkLst>
            <pc:docMk/>
            <pc:sldMk cId="1144690327" sldId="371"/>
            <ac:picMk id="22" creationId="{BA8A97D4-95A0-4CD5-90D9-A5243358A065}"/>
          </ac:picMkLst>
        </pc:picChg>
      </pc:sldChg>
      <pc:sldChg chg="delSp modSp mod">
        <pc:chgData name="Ekaterina Veselkova" userId="5ed5cb5c-b82d-4261-a35d-9158526644a8" providerId="ADAL" clId="{6F0DA784-1FDB-4430-B10C-5D4AC850F021}" dt="2021-12-16T07:43:35.963" v="610" actId="478"/>
        <pc:sldMkLst>
          <pc:docMk/>
          <pc:sldMk cId="2858129859" sldId="2147378087"/>
        </pc:sldMkLst>
        <pc:spChg chg="mod">
          <ac:chgData name="Ekaterina Veselkova" userId="5ed5cb5c-b82d-4261-a35d-9158526644a8" providerId="ADAL" clId="{6F0DA784-1FDB-4430-B10C-5D4AC850F021}" dt="2021-12-15T10:23:06.366" v="173" actId="20577"/>
          <ac:spMkLst>
            <pc:docMk/>
            <pc:sldMk cId="2858129859" sldId="2147378087"/>
            <ac:spMk id="30" creationId="{2125D8B3-FC95-409F-B1E1-F1057A801912}"/>
          </ac:spMkLst>
        </pc:spChg>
        <pc:picChg chg="del">
          <ac:chgData name="Ekaterina Veselkova" userId="5ed5cb5c-b82d-4261-a35d-9158526644a8" providerId="ADAL" clId="{6F0DA784-1FDB-4430-B10C-5D4AC850F021}" dt="2021-12-16T07:43:33.679" v="607" actId="478"/>
          <ac:picMkLst>
            <pc:docMk/>
            <pc:sldMk cId="2858129859" sldId="2147378087"/>
            <ac:picMk id="12" creationId="{718FA2B2-13D5-4C61-9BF0-E3C3D6C986AC}"/>
          </ac:picMkLst>
        </pc:picChg>
        <pc:picChg chg="del">
          <ac:chgData name="Ekaterina Veselkova" userId="5ed5cb5c-b82d-4261-a35d-9158526644a8" providerId="ADAL" clId="{6F0DA784-1FDB-4430-B10C-5D4AC850F021}" dt="2021-12-16T07:43:34.613" v="608" actId="478"/>
          <ac:picMkLst>
            <pc:docMk/>
            <pc:sldMk cId="2858129859" sldId="2147378087"/>
            <ac:picMk id="15" creationId="{7E55E83B-E5C7-491A-BE2D-DB6F49AC6843}"/>
          </ac:picMkLst>
        </pc:picChg>
        <pc:picChg chg="del">
          <ac:chgData name="Ekaterina Veselkova" userId="5ed5cb5c-b82d-4261-a35d-9158526644a8" providerId="ADAL" clId="{6F0DA784-1FDB-4430-B10C-5D4AC850F021}" dt="2021-12-16T07:43:35.299" v="609" actId="478"/>
          <ac:picMkLst>
            <pc:docMk/>
            <pc:sldMk cId="2858129859" sldId="2147378087"/>
            <ac:picMk id="17" creationId="{F3742BDE-5682-4597-BBD1-DAB00A48050F}"/>
          </ac:picMkLst>
        </pc:picChg>
        <pc:picChg chg="del">
          <ac:chgData name="Ekaterina Veselkova" userId="5ed5cb5c-b82d-4261-a35d-9158526644a8" providerId="ADAL" clId="{6F0DA784-1FDB-4430-B10C-5D4AC850F021}" dt="2021-12-16T07:43:35.963" v="610" actId="478"/>
          <ac:picMkLst>
            <pc:docMk/>
            <pc:sldMk cId="2858129859" sldId="2147378087"/>
            <ac:picMk id="19" creationId="{F5EDFB42-CC3A-4368-A3AB-074E08D11FEC}"/>
          </ac:picMkLst>
        </pc:picChg>
      </pc:sldChg>
      <pc:sldChg chg="modNotesTx">
        <pc:chgData name="Ekaterina Veselkova" userId="5ed5cb5c-b82d-4261-a35d-9158526644a8" providerId="ADAL" clId="{6F0DA784-1FDB-4430-B10C-5D4AC850F021}" dt="2021-12-15T10:34:49.267" v="291" actId="20577"/>
        <pc:sldMkLst>
          <pc:docMk/>
          <pc:sldMk cId="2703168349" sldId="2147378089"/>
        </pc:sldMkLst>
      </pc:sldChg>
      <pc:sldChg chg="modNotesTx">
        <pc:chgData name="Ekaterina Veselkova" userId="5ed5cb5c-b82d-4261-a35d-9158526644a8" providerId="ADAL" clId="{6F0DA784-1FDB-4430-B10C-5D4AC850F021}" dt="2021-12-15T10:39:26.326" v="314" actId="6549"/>
        <pc:sldMkLst>
          <pc:docMk/>
          <pc:sldMk cId="967033725" sldId="2147378092"/>
        </pc:sldMkLst>
      </pc:sldChg>
      <pc:sldChg chg="add del">
        <pc:chgData name="Ekaterina Veselkova" userId="5ed5cb5c-b82d-4261-a35d-9158526644a8" providerId="ADAL" clId="{6F0DA784-1FDB-4430-B10C-5D4AC850F021}" dt="2021-12-15T10:23:33.315" v="174" actId="2696"/>
        <pc:sldMkLst>
          <pc:docMk/>
          <pc:sldMk cId="2487109106" sldId="2147378093"/>
        </pc:sldMkLst>
      </pc:sldChg>
      <pc:sldChg chg="addSp delSp modSp add mod modNotesTx">
        <pc:chgData name="Ekaterina Veselkova" userId="5ed5cb5c-b82d-4261-a35d-9158526644a8" providerId="ADAL" clId="{6F0DA784-1FDB-4430-B10C-5D4AC850F021}" dt="2021-12-15T10:43:05.160" v="359" actId="20577"/>
        <pc:sldMkLst>
          <pc:docMk/>
          <pc:sldMk cId="2701467447" sldId="2147378093"/>
        </pc:sldMkLst>
        <pc:spChg chg="del">
          <ac:chgData name="Ekaterina Veselkova" userId="5ed5cb5c-b82d-4261-a35d-9158526644a8" providerId="ADAL" clId="{6F0DA784-1FDB-4430-B10C-5D4AC850F021}" dt="2021-12-15T10:35:18.285" v="296" actId="478"/>
          <ac:spMkLst>
            <pc:docMk/>
            <pc:sldMk cId="2701467447" sldId="2147378093"/>
            <ac:spMk id="31" creationId="{D31F7259-023C-4032-BC25-29BCC9A610D8}"/>
          </ac:spMkLst>
        </pc:spChg>
        <pc:spChg chg="del">
          <ac:chgData name="Ekaterina Veselkova" userId="5ed5cb5c-b82d-4261-a35d-9158526644a8" providerId="ADAL" clId="{6F0DA784-1FDB-4430-B10C-5D4AC850F021}" dt="2021-12-15T10:35:19.903" v="297" actId="478"/>
          <ac:spMkLst>
            <pc:docMk/>
            <pc:sldMk cId="2701467447" sldId="2147378093"/>
            <ac:spMk id="32" creationId="{85FB9CFD-0CAA-4481-B2E8-69242A39589A}"/>
          </ac:spMkLst>
        </pc:spChg>
        <pc:spChg chg="del">
          <ac:chgData name="Ekaterina Veselkova" userId="5ed5cb5c-b82d-4261-a35d-9158526644a8" providerId="ADAL" clId="{6F0DA784-1FDB-4430-B10C-5D4AC850F021}" dt="2021-12-15T10:41:53.249" v="317" actId="478"/>
          <ac:spMkLst>
            <pc:docMk/>
            <pc:sldMk cId="2701467447" sldId="2147378093"/>
            <ac:spMk id="33" creationId="{FC7F3221-7C3B-4F0B-A17D-FB156D54FACA}"/>
          </ac:spMkLst>
        </pc:spChg>
        <pc:spChg chg="del">
          <ac:chgData name="Ekaterina Veselkova" userId="5ed5cb5c-b82d-4261-a35d-9158526644a8" providerId="ADAL" clId="{6F0DA784-1FDB-4430-B10C-5D4AC850F021}" dt="2021-12-15T10:41:51.459" v="316" actId="478"/>
          <ac:spMkLst>
            <pc:docMk/>
            <pc:sldMk cId="2701467447" sldId="2147378093"/>
            <ac:spMk id="34" creationId="{87794BB0-5A34-49BB-B435-1F4D752B2C81}"/>
          </ac:spMkLst>
        </pc:spChg>
        <pc:spChg chg="del">
          <ac:chgData name="Ekaterina Veselkova" userId="5ed5cb5c-b82d-4261-a35d-9158526644a8" providerId="ADAL" clId="{6F0DA784-1FDB-4430-B10C-5D4AC850F021}" dt="2021-12-15T10:35:17.136" v="295" actId="478"/>
          <ac:spMkLst>
            <pc:docMk/>
            <pc:sldMk cId="2701467447" sldId="2147378093"/>
            <ac:spMk id="36" creationId="{784D1DBD-7705-417E-BDD8-FD67D92BB07A}"/>
          </ac:spMkLst>
        </pc:spChg>
        <pc:spChg chg="del">
          <ac:chgData name="Ekaterina Veselkova" userId="5ed5cb5c-b82d-4261-a35d-9158526644a8" providerId="ADAL" clId="{6F0DA784-1FDB-4430-B10C-5D4AC850F021}" dt="2021-12-15T10:35:21.091" v="298" actId="478"/>
          <ac:spMkLst>
            <pc:docMk/>
            <pc:sldMk cId="2701467447" sldId="2147378093"/>
            <ac:spMk id="45" creationId="{5BA11864-044A-4391-8331-BA7E28E10DEB}"/>
          </ac:spMkLst>
        </pc:spChg>
        <pc:spChg chg="add del">
          <ac:chgData name="Ekaterina Veselkova" userId="5ed5cb5c-b82d-4261-a35d-9158526644a8" providerId="ADAL" clId="{6F0DA784-1FDB-4430-B10C-5D4AC850F021}" dt="2021-12-15T10:42:34.272" v="322" actId="478"/>
          <ac:spMkLst>
            <pc:docMk/>
            <pc:sldMk cId="2701467447" sldId="2147378093"/>
            <ac:spMk id="49" creationId="{A64B6397-7826-4BDD-BB4C-5E72211C7284}"/>
          </ac:spMkLst>
        </pc:spChg>
        <pc:grpChg chg="del">
          <ac:chgData name="Ekaterina Veselkova" userId="5ed5cb5c-b82d-4261-a35d-9158526644a8" providerId="ADAL" clId="{6F0DA784-1FDB-4430-B10C-5D4AC850F021}" dt="2021-12-15T10:35:13.889" v="293" actId="478"/>
          <ac:grpSpMkLst>
            <pc:docMk/>
            <pc:sldMk cId="2701467447" sldId="2147378093"/>
            <ac:grpSpMk id="38" creationId="{1F9B7780-401C-43AF-B3FF-E76B0D0678DD}"/>
          </ac:grpSpMkLst>
        </pc:grpChg>
        <pc:picChg chg="add mod">
          <ac:chgData name="Ekaterina Veselkova" userId="5ed5cb5c-b82d-4261-a35d-9158526644a8" providerId="ADAL" clId="{6F0DA784-1FDB-4430-B10C-5D4AC850F021}" dt="2021-12-15T10:42:42.801" v="324" actId="1076"/>
          <ac:picMkLst>
            <pc:docMk/>
            <pc:sldMk cId="2701467447" sldId="2147378093"/>
            <ac:picMk id="3" creationId="{A950B360-0A12-48F0-88E8-F8E7CB65FA29}"/>
          </ac:picMkLst>
        </pc:picChg>
        <pc:picChg chg="del">
          <ac:chgData name="Ekaterina Veselkova" userId="5ed5cb5c-b82d-4261-a35d-9158526644a8" providerId="ADAL" clId="{6F0DA784-1FDB-4430-B10C-5D4AC850F021}" dt="2021-12-15T10:35:15.531" v="294" actId="478"/>
          <ac:picMkLst>
            <pc:docMk/>
            <pc:sldMk cId="2701467447" sldId="2147378093"/>
            <ac:picMk id="44" creationId="{FE664635-6E7E-49EE-9544-E20CADA7AA82}"/>
          </ac:picMkLst>
        </pc:picChg>
      </pc:sldChg>
      <pc:sldChg chg="add">
        <pc:chgData name="Ekaterina Veselkova" userId="5ed5cb5c-b82d-4261-a35d-9158526644a8" providerId="ADAL" clId="{6F0DA784-1FDB-4430-B10C-5D4AC850F021}" dt="2021-12-15T10:35:09.803" v="292" actId="2890"/>
        <pc:sldMkLst>
          <pc:docMk/>
          <pc:sldMk cId="1142454612" sldId="2147378094"/>
        </pc:sldMkLst>
      </pc:sldChg>
      <pc:sldChg chg="add">
        <pc:chgData name="Ekaterina Veselkova" userId="5ed5cb5c-b82d-4261-a35d-9158526644a8" providerId="ADAL" clId="{6F0DA784-1FDB-4430-B10C-5D4AC850F021}" dt="2021-12-15T10:43:35.817" v="361"/>
        <pc:sldMkLst>
          <pc:docMk/>
          <pc:sldMk cId="3791179547" sldId="2147378095"/>
        </pc:sldMkLst>
      </pc:sldChg>
      <pc:sldChg chg="addSp delSp modSp add del mod modNotesTx">
        <pc:chgData name="Ekaterina Veselkova" userId="5ed5cb5c-b82d-4261-a35d-9158526644a8" providerId="ADAL" clId="{6F0DA784-1FDB-4430-B10C-5D4AC850F021}" dt="2021-12-15T10:43:27.982" v="360" actId="2696"/>
        <pc:sldMkLst>
          <pc:docMk/>
          <pc:sldMk cId="4278053289" sldId="2147378095"/>
        </pc:sldMkLst>
        <pc:spChg chg="add del mod">
          <ac:chgData name="Ekaterina Veselkova" userId="5ed5cb5c-b82d-4261-a35d-9158526644a8" providerId="ADAL" clId="{6F0DA784-1FDB-4430-B10C-5D4AC850F021}" dt="2021-12-15T10:38:56.925" v="303" actId="478"/>
          <ac:spMkLst>
            <pc:docMk/>
            <pc:sldMk cId="4278053289" sldId="2147378095"/>
            <ac:spMk id="3" creationId="{E32332DF-A8B5-4463-AE99-4A04BFF9DEAF}"/>
          </ac:spMkLst>
        </pc:spChg>
        <pc:spChg chg="del">
          <ac:chgData name="Ekaterina Veselkova" userId="5ed5cb5c-b82d-4261-a35d-9158526644a8" providerId="ADAL" clId="{6F0DA784-1FDB-4430-B10C-5D4AC850F021}" dt="2021-12-15T10:38:54.773" v="302" actId="478"/>
          <ac:spMkLst>
            <pc:docMk/>
            <pc:sldMk cId="4278053289" sldId="2147378095"/>
            <ac:spMk id="46" creationId="{00000000-0000-0000-0000-000000000000}"/>
          </ac:spMkLst>
        </pc:spChg>
        <pc:picChg chg="add mod">
          <ac:chgData name="Ekaterina Veselkova" userId="5ed5cb5c-b82d-4261-a35d-9158526644a8" providerId="ADAL" clId="{6F0DA784-1FDB-4430-B10C-5D4AC850F021}" dt="2021-12-15T10:39:13.085" v="312" actId="962"/>
          <ac:picMkLst>
            <pc:docMk/>
            <pc:sldMk cId="4278053289" sldId="2147378095"/>
            <ac:picMk id="5" creationId="{02263D2C-D4E1-4D3C-9043-0EA2551DB3C4}"/>
          </ac:picMkLst>
        </pc:picChg>
        <pc:picChg chg="del">
          <ac:chgData name="Ekaterina Veselkova" userId="5ed5cb5c-b82d-4261-a35d-9158526644a8" providerId="ADAL" clId="{6F0DA784-1FDB-4430-B10C-5D4AC850F021}" dt="2021-12-15T10:38:57.548" v="304" actId="478"/>
          <ac:picMkLst>
            <pc:docMk/>
            <pc:sldMk cId="4278053289" sldId="2147378095"/>
            <ac:picMk id="7" creationId="{0EEB4CB4-A98B-4EA3-A322-A50FDD4C4A1E}"/>
          </ac:picMkLst>
        </pc:picChg>
        <pc:picChg chg="del">
          <ac:chgData name="Ekaterina Veselkova" userId="5ed5cb5c-b82d-4261-a35d-9158526644a8" providerId="ADAL" clId="{6F0DA784-1FDB-4430-B10C-5D4AC850F021}" dt="2021-12-15T10:38:58.513" v="305" actId="478"/>
          <ac:picMkLst>
            <pc:docMk/>
            <pc:sldMk cId="4278053289" sldId="2147378095"/>
            <ac:picMk id="115" creationId="{785095C2-2D90-4D7F-B085-8F1604837857}"/>
          </ac:picMkLst>
        </pc:picChg>
      </pc:sldChg>
      <pc:sldChg chg="addSp delSp modSp add mod">
        <pc:chgData name="Ekaterina Veselkova" userId="5ed5cb5c-b82d-4261-a35d-9158526644a8" providerId="ADAL" clId="{6F0DA784-1FDB-4430-B10C-5D4AC850F021}" dt="2021-12-15T10:47:03.087" v="423" actId="1076"/>
        <pc:sldMkLst>
          <pc:docMk/>
          <pc:sldMk cId="138173563" sldId="2147378096"/>
        </pc:sldMkLst>
        <pc:spChg chg="mod">
          <ac:chgData name="Ekaterina Veselkova" userId="5ed5cb5c-b82d-4261-a35d-9158526644a8" providerId="ADAL" clId="{6F0DA784-1FDB-4430-B10C-5D4AC850F021}" dt="2021-12-15T10:47:03.087" v="423" actId="1076"/>
          <ac:spMkLst>
            <pc:docMk/>
            <pc:sldMk cId="138173563" sldId="2147378096"/>
            <ac:spMk id="46" creationId="{00000000-0000-0000-0000-000000000000}"/>
          </ac:spMkLst>
        </pc:spChg>
        <pc:picChg chg="add mod">
          <ac:chgData name="Ekaterina Veselkova" userId="5ed5cb5c-b82d-4261-a35d-9158526644a8" providerId="ADAL" clId="{6F0DA784-1FDB-4430-B10C-5D4AC850F021}" dt="2021-12-15T10:46:23.896" v="368" actId="1076"/>
          <ac:picMkLst>
            <pc:docMk/>
            <pc:sldMk cId="138173563" sldId="2147378096"/>
            <ac:picMk id="5" creationId="{8BAF7B14-BF22-4DC4-80B7-3354891DF2F6}"/>
          </ac:picMkLst>
        </pc:picChg>
        <pc:picChg chg="del">
          <ac:chgData name="Ekaterina Veselkova" userId="5ed5cb5c-b82d-4261-a35d-9158526644a8" providerId="ADAL" clId="{6F0DA784-1FDB-4430-B10C-5D4AC850F021}" dt="2021-12-15T10:45:54.838" v="363" actId="478"/>
          <ac:picMkLst>
            <pc:docMk/>
            <pc:sldMk cId="138173563" sldId="2147378096"/>
            <ac:picMk id="7" creationId="{0EEB4CB4-A98B-4EA3-A322-A50FDD4C4A1E}"/>
          </ac:picMkLst>
        </pc:picChg>
      </pc:sldChg>
      <pc:sldChg chg="addSp delSp modSp add mod modNotesTx">
        <pc:chgData name="Ekaterina Veselkova" userId="5ed5cb5c-b82d-4261-a35d-9158526644a8" providerId="ADAL" clId="{6F0DA784-1FDB-4430-B10C-5D4AC850F021}" dt="2021-12-15T11:00:27.791" v="588" actId="20577"/>
        <pc:sldMkLst>
          <pc:docMk/>
          <pc:sldMk cId="24549124" sldId="2147378097"/>
        </pc:sldMkLst>
        <pc:picChg chg="add mod">
          <ac:chgData name="Ekaterina Veselkova" userId="5ed5cb5c-b82d-4261-a35d-9158526644a8" providerId="ADAL" clId="{6F0DA784-1FDB-4430-B10C-5D4AC850F021}" dt="2021-12-15T10:48:36.009" v="430" actId="14100"/>
          <ac:picMkLst>
            <pc:docMk/>
            <pc:sldMk cId="24549124" sldId="2147378097"/>
            <ac:picMk id="3" creationId="{AEB4A15F-FDA0-4DDC-B42E-9A29059C0012}"/>
          </ac:picMkLst>
        </pc:picChg>
        <pc:picChg chg="del">
          <ac:chgData name="Ekaterina Veselkova" userId="5ed5cb5c-b82d-4261-a35d-9158526644a8" providerId="ADAL" clId="{6F0DA784-1FDB-4430-B10C-5D4AC850F021}" dt="2021-12-15T10:48:01.139" v="425" actId="478"/>
          <ac:picMkLst>
            <pc:docMk/>
            <pc:sldMk cId="24549124" sldId="2147378097"/>
            <ac:picMk id="5" creationId="{8BAF7B14-BF22-4DC4-80B7-3354891DF2F6}"/>
          </ac:picMkLst>
        </pc:picChg>
      </pc:sldChg>
      <pc:sldChg chg="addSp delSp modSp add mod modNotesTx">
        <pc:chgData name="Ekaterina Veselkova" userId="5ed5cb5c-b82d-4261-a35d-9158526644a8" providerId="ADAL" clId="{6F0DA784-1FDB-4430-B10C-5D4AC850F021}" dt="2021-12-16T07:48:08.345" v="618" actId="1076"/>
        <pc:sldMkLst>
          <pc:docMk/>
          <pc:sldMk cId="1104760365" sldId="2147378098"/>
        </pc:sldMkLst>
        <pc:spChg chg="mod">
          <ac:chgData name="Ekaterina Veselkova" userId="5ed5cb5c-b82d-4261-a35d-9158526644a8" providerId="ADAL" clId="{6F0DA784-1FDB-4430-B10C-5D4AC850F021}" dt="2021-12-15T10:49:05.555" v="438" actId="5793"/>
          <ac:spMkLst>
            <pc:docMk/>
            <pc:sldMk cId="1104760365" sldId="2147378098"/>
            <ac:spMk id="46" creationId="{00000000-0000-0000-0000-000000000000}"/>
          </ac:spMkLst>
        </pc:spChg>
        <pc:picChg chg="add mod">
          <ac:chgData name="Ekaterina Veselkova" userId="5ed5cb5c-b82d-4261-a35d-9158526644a8" providerId="ADAL" clId="{6F0DA784-1FDB-4430-B10C-5D4AC850F021}" dt="2021-12-16T07:48:08.345" v="618" actId="1076"/>
          <ac:picMkLst>
            <pc:docMk/>
            <pc:sldMk cId="1104760365" sldId="2147378098"/>
            <ac:picMk id="2" creationId="{92165FF4-7BDF-4FBD-9F57-7292554ABC0A}"/>
          </ac:picMkLst>
        </pc:picChg>
        <pc:picChg chg="del">
          <ac:chgData name="Ekaterina Veselkova" userId="5ed5cb5c-b82d-4261-a35d-9158526644a8" providerId="ADAL" clId="{6F0DA784-1FDB-4430-B10C-5D4AC850F021}" dt="2021-12-15T10:48:46.334" v="432" actId="478"/>
          <ac:picMkLst>
            <pc:docMk/>
            <pc:sldMk cId="1104760365" sldId="2147378098"/>
            <ac:picMk id="3" creationId="{AEB4A15F-FDA0-4DDC-B42E-9A29059C0012}"/>
          </ac:picMkLst>
        </pc:picChg>
        <pc:picChg chg="add mod">
          <ac:chgData name="Ekaterina Veselkova" userId="5ed5cb5c-b82d-4261-a35d-9158526644a8" providerId="ADAL" clId="{6F0DA784-1FDB-4430-B10C-5D4AC850F021}" dt="2021-12-15T10:58:54.454" v="485" actId="1076"/>
          <ac:picMkLst>
            <pc:docMk/>
            <pc:sldMk cId="1104760365" sldId="2147378098"/>
            <ac:picMk id="4" creationId="{2EE06743-C460-4755-9E1F-A3268398E278}"/>
          </ac:picMkLst>
        </pc:picChg>
        <pc:picChg chg="add mod">
          <ac:chgData name="Ekaterina Veselkova" userId="5ed5cb5c-b82d-4261-a35d-9158526644a8" providerId="ADAL" clId="{6F0DA784-1FDB-4430-B10C-5D4AC850F021}" dt="2021-12-15T10:58:49.345" v="484" actId="14100"/>
          <ac:picMkLst>
            <pc:docMk/>
            <pc:sldMk cId="1104760365" sldId="2147378098"/>
            <ac:picMk id="6" creationId="{3991896D-7514-470C-A1BF-55D05353CCF8}"/>
          </ac:picMkLst>
        </pc:picChg>
        <pc:picChg chg="add mod">
          <ac:chgData name="Ekaterina Veselkova" userId="5ed5cb5c-b82d-4261-a35d-9158526644a8" providerId="ADAL" clId="{6F0DA784-1FDB-4430-B10C-5D4AC850F021}" dt="2021-12-15T10:52:56.331" v="451" actId="14100"/>
          <ac:picMkLst>
            <pc:docMk/>
            <pc:sldMk cId="1104760365" sldId="2147378098"/>
            <ac:picMk id="7" creationId="{5ACFE2D0-45EE-4354-A42A-C164DB8C0E7E}"/>
          </ac:picMkLst>
        </pc:picChg>
        <pc:picChg chg="add del mod">
          <ac:chgData name="Ekaterina Veselkova" userId="5ed5cb5c-b82d-4261-a35d-9158526644a8" providerId="ADAL" clId="{6F0DA784-1FDB-4430-B10C-5D4AC850F021}" dt="2021-12-15T10:55:11.276" v="458" actId="478"/>
          <ac:picMkLst>
            <pc:docMk/>
            <pc:sldMk cId="1104760365" sldId="2147378098"/>
            <ac:picMk id="10" creationId="{9FE3023E-A54F-4A92-A67A-F8C81CC6EA78}"/>
          </ac:picMkLst>
        </pc:picChg>
        <pc:picChg chg="add mod">
          <ac:chgData name="Ekaterina Veselkova" userId="5ed5cb5c-b82d-4261-a35d-9158526644a8" providerId="ADAL" clId="{6F0DA784-1FDB-4430-B10C-5D4AC850F021}" dt="2021-12-15T10:58:35.470" v="479" actId="1076"/>
          <ac:picMkLst>
            <pc:docMk/>
            <pc:sldMk cId="1104760365" sldId="2147378098"/>
            <ac:picMk id="11" creationId="{6CE3C0C5-11D1-4DC4-AA08-AFD2E45D19E5}"/>
          </ac:picMkLst>
        </pc:picChg>
        <pc:picChg chg="add mod">
          <ac:chgData name="Ekaterina Veselkova" userId="5ed5cb5c-b82d-4261-a35d-9158526644a8" providerId="ADAL" clId="{6F0DA784-1FDB-4430-B10C-5D4AC850F021}" dt="2021-12-15T10:58:43.146" v="483" actId="1076"/>
          <ac:picMkLst>
            <pc:docMk/>
            <pc:sldMk cId="1104760365" sldId="2147378098"/>
            <ac:picMk id="12" creationId="{B354F76E-60F0-4422-813F-E83A668C860B}"/>
          </ac:picMkLst>
        </pc:picChg>
        <pc:picChg chg="add mod">
          <ac:chgData name="Ekaterina Veselkova" userId="5ed5cb5c-b82d-4261-a35d-9158526644a8" providerId="ADAL" clId="{6F0DA784-1FDB-4430-B10C-5D4AC850F021}" dt="2021-12-15T10:58:37.559" v="480" actId="1076"/>
          <ac:picMkLst>
            <pc:docMk/>
            <pc:sldMk cId="1104760365" sldId="2147378098"/>
            <ac:picMk id="13" creationId="{13EE30B7-363E-45E1-B0C6-89A698A1EBC8}"/>
          </ac:picMkLst>
        </pc:picChg>
        <pc:picChg chg="add del mod">
          <ac:chgData name="Ekaterina Veselkova" userId="5ed5cb5c-b82d-4261-a35d-9158526644a8" providerId="ADAL" clId="{6F0DA784-1FDB-4430-B10C-5D4AC850F021}" dt="2021-12-15T11:00:00.982" v="493" actId="478"/>
          <ac:picMkLst>
            <pc:docMk/>
            <pc:sldMk cId="1104760365" sldId="2147378098"/>
            <ac:picMk id="15" creationId="{4CF1D39A-605D-4628-8673-4305764AEE80}"/>
          </ac:picMkLst>
        </pc:picChg>
        <pc:cxnChg chg="add mod">
          <ac:chgData name="Ekaterina Veselkova" userId="5ed5cb5c-b82d-4261-a35d-9158526644a8" providerId="ADAL" clId="{6F0DA784-1FDB-4430-B10C-5D4AC850F021}" dt="2021-12-15T10:53:59.650" v="455" actId="1076"/>
          <ac:cxnSpMkLst>
            <pc:docMk/>
            <pc:sldMk cId="1104760365" sldId="2147378098"/>
            <ac:cxnSpMk id="9" creationId="{06FB516E-8851-4C4A-A441-9C67694CFE93}"/>
          </ac:cxnSpMkLst>
        </pc:cxnChg>
      </pc:sldChg>
      <pc:sldChg chg="addSp delSp modSp add mod">
        <pc:chgData name="Ekaterina Veselkova" userId="5ed5cb5c-b82d-4261-a35d-9158526644a8" providerId="ADAL" clId="{6F0DA784-1FDB-4430-B10C-5D4AC850F021}" dt="2021-12-15T11:04:28.853" v="606" actId="1076"/>
        <pc:sldMkLst>
          <pc:docMk/>
          <pc:sldMk cId="3589324383" sldId="2147378099"/>
        </pc:sldMkLst>
        <pc:spChg chg="add del mod">
          <ac:chgData name="Ekaterina Veselkova" userId="5ed5cb5c-b82d-4261-a35d-9158526644a8" providerId="ADAL" clId="{6F0DA784-1FDB-4430-B10C-5D4AC850F021}" dt="2021-12-15T11:02:17.435" v="597" actId="478"/>
          <ac:spMkLst>
            <pc:docMk/>
            <pc:sldMk cId="3589324383" sldId="2147378099"/>
            <ac:spMk id="5" creationId="{F4880BF2-5E4E-4936-82C1-7E76F7DEB6FA}"/>
          </ac:spMkLst>
        </pc:spChg>
        <pc:spChg chg="del">
          <ac:chgData name="Ekaterina Veselkova" userId="5ed5cb5c-b82d-4261-a35d-9158526644a8" providerId="ADAL" clId="{6F0DA784-1FDB-4430-B10C-5D4AC850F021}" dt="2021-12-15T11:02:15.724" v="596" actId="478"/>
          <ac:spMkLst>
            <pc:docMk/>
            <pc:sldMk cId="3589324383" sldId="2147378099"/>
            <ac:spMk id="46" creationId="{00000000-0000-0000-0000-000000000000}"/>
          </ac:spMkLst>
        </pc:spChg>
        <pc:picChg chg="add del">
          <ac:chgData name="Ekaterina Veselkova" userId="5ed5cb5c-b82d-4261-a35d-9158526644a8" providerId="ADAL" clId="{6F0DA784-1FDB-4430-B10C-5D4AC850F021}" dt="2021-12-15T11:01:56.999" v="592"/>
          <ac:picMkLst>
            <pc:docMk/>
            <pc:sldMk cId="3589324383" sldId="2147378099"/>
            <ac:picMk id="2" creationId="{314B23E7-65D6-481C-9340-D8A3F7EB07CE}"/>
          </ac:picMkLst>
        </pc:picChg>
        <pc:picChg chg="del">
          <ac:chgData name="Ekaterina Veselkova" userId="5ed5cb5c-b82d-4261-a35d-9158526644a8" providerId="ADAL" clId="{6F0DA784-1FDB-4430-B10C-5D4AC850F021}" dt="2021-12-15T11:01:52.556" v="590" actId="478"/>
          <ac:picMkLst>
            <pc:docMk/>
            <pc:sldMk cId="3589324383" sldId="2147378099"/>
            <ac:picMk id="3" creationId="{AEB4A15F-FDA0-4DDC-B42E-9A29059C0012}"/>
          </ac:picMkLst>
        </pc:picChg>
        <pc:picChg chg="add mod">
          <ac:chgData name="Ekaterina Veselkova" userId="5ed5cb5c-b82d-4261-a35d-9158526644a8" providerId="ADAL" clId="{6F0DA784-1FDB-4430-B10C-5D4AC850F021}" dt="2021-12-15T11:02:20.715" v="598" actId="1076"/>
          <ac:picMkLst>
            <pc:docMk/>
            <pc:sldMk cId="3589324383" sldId="2147378099"/>
            <ac:picMk id="6" creationId="{8026F17C-9F96-40C1-B02F-F39A36EEF178}"/>
          </ac:picMkLst>
        </pc:picChg>
        <pc:picChg chg="mod">
          <ac:chgData name="Ekaterina Veselkova" userId="5ed5cb5c-b82d-4261-a35d-9158526644a8" providerId="ADAL" clId="{6F0DA784-1FDB-4430-B10C-5D4AC850F021}" dt="2021-12-15T11:04:28.853" v="606" actId="1076"/>
          <ac:picMkLst>
            <pc:docMk/>
            <pc:sldMk cId="3589324383" sldId="2147378099"/>
            <ac:picMk id="115" creationId="{785095C2-2D90-4D7F-B085-8F1604837857}"/>
          </ac:picMkLst>
        </pc:picChg>
      </pc:sldChg>
      <pc:sldMasterChg chg="delSldLayout">
        <pc:chgData name="Ekaterina Veselkova" userId="5ed5cb5c-b82d-4261-a35d-9158526644a8" providerId="ADAL" clId="{6F0DA784-1FDB-4430-B10C-5D4AC850F021}" dt="2021-12-16T07:44:20.484" v="614" actId="47"/>
        <pc:sldMasterMkLst>
          <pc:docMk/>
          <pc:sldMasterMk cId="946163275" sldId="2147483648"/>
        </pc:sldMasterMkLst>
        <pc:sldLayoutChg chg="del">
          <pc:chgData name="Ekaterina Veselkova" userId="5ed5cb5c-b82d-4261-a35d-9158526644a8" providerId="ADAL" clId="{6F0DA784-1FDB-4430-B10C-5D4AC850F021}" dt="2021-12-16T07:44:20.484" v="614" actId="47"/>
          <pc:sldLayoutMkLst>
            <pc:docMk/>
            <pc:sldMasterMk cId="946163275" sldId="2147483648"/>
            <pc:sldLayoutMk cId="3237915372" sldId="2147483776"/>
          </pc:sldLayoutMkLst>
        </pc:sldLayoutChg>
      </pc:sldMasterChg>
      <pc:sldMasterChg chg="delSldLayout">
        <pc:chgData name="Ekaterina Veselkova" userId="5ed5cb5c-b82d-4261-a35d-9158526644a8" providerId="ADAL" clId="{6F0DA784-1FDB-4430-B10C-5D4AC850F021}" dt="2021-12-15T10:23:56.582" v="176" actId="47"/>
        <pc:sldMasterMkLst>
          <pc:docMk/>
          <pc:sldMasterMk cId="4049662272" sldId="2147483686"/>
        </pc:sldMasterMkLst>
        <pc:sldLayoutChg chg="del">
          <pc:chgData name="Ekaterina Veselkova" userId="5ed5cb5c-b82d-4261-a35d-9158526644a8" providerId="ADAL" clId="{6F0DA784-1FDB-4430-B10C-5D4AC850F021}" dt="2021-12-15T10:23:56.582" v="176" actId="47"/>
          <pc:sldLayoutMkLst>
            <pc:docMk/>
            <pc:sldMasterMk cId="4049662272" sldId="2147483686"/>
            <pc:sldLayoutMk cId="1390463302" sldId="2147483720"/>
          </pc:sldLayoutMkLst>
        </pc:sldLayoutChg>
      </pc:sldMasterChg>
    </pc:docChg>
  </pc:docChgLst>
  <pc:docChgLst>
    <pc:chgData name="Ekaterina Veselkova" userId="5ed5cb5c-b82d-4261-a35d-9158526644a8" providerId="ADAL" clId="{D08B7266-89B6-4AB2-BA12-93B0FB9A82D4}"/>
    <pc:docChg chg="undo custSel addSld delSld modSld delMainMaster">
      <pc:chgData name="Ekaterina Veselkova" userId="5ed5cb5c-b82d-4261-a35d-9158526644a8" providerId="ADAL" clId="{D08B7266-89B6-4AB2-BA12-93B0FB9A82D4}" dt="2021-07-07T13:59:14.704" v="3737" actId="20577"/>
      <pc:docMkLst>
        <pc:docMk/>
      </pc:docMkLst>
      <pc:sldChg chg="modSp mod">
        <pc:chgData name="Ekaterina Veselkova" userId="5ed5cb5c-b82d-4261-a35d-9158526644a8" providerId="ADAL" clId="{D08B7266-89B6-4AB2-BA12-93B0FB9A82D4}" dt="2021-06-18T10:52:55.523" v="527" actId="20577"/>
        <pc:sldMkLst>
          <pc:docMk/>
          <pc:sldMk cId="2487109106" sldId="291"/>
        </pc:sldMkLst>
        <pc:spChg chg="mod">
          <ac:chgData name="Ekaterina Veselkova" userId="5ed5cb5c-b82d-4261-a35d-9158526644a8" providerId="ADAL" clId="{D08B7266-89B6-4AB2-BA12-93B0FB9A82D4}" dt="2021-06-18T10:52:55.523" v="527" actId="20577"/>
          <ac:spMkLst>
            <pc:docMk/>
            <pc:sldMk cId="2487109106" sldId="291"/>
            <ac:spMk id="49" creationId="{A64B6397-7826-4BDD-BB4C-5E72211C7284}"/>
          </ac:spMkLst>
        </pc:spChg>
      </pc:sldChg>
      <pc:sldChg chg="modSp del mod">
        <pc:chgData name="Ekaterina Veselkova" userId="5ed5cb5c-b82d-4261-a35d-9158526644a8" providerId="ADAL" clId="{D08B7266-89B6-4AB2-BA12-93B0FB9A82D4}" dt="2021-06-18T10:53:24.762" v="528" actId="47"/>
        <pc:sldMkLst>
          <pc:docMk/>
          <pc:sldMk cId="3296451063" sldId="302"/>
        </pc:sldMkLst>
        <pc:spChg chg="mod">
          <ac:chgData name="Ekaterina Veselkova" userId="5ed5cb5c-b82d-4261-a35d-9158526644a8" providerId="ADAL" clId="{D08B7266-89B6-4AB2-BA12-93B0FB9A82D4}" dt="2021-06-18T09:36:51.834" v="157" actId="20577"/>
          <ac:spMkLst>
            <pc:docMk/>
            <pc:sldMk cId="3296451063" sldId="302"/>
            <ac:spMk id="13" creationId="{34E34475-6A1B-4075-B05A-5720BDF12353}"/>
          </ac:spMkLst>
        </pc:spChg>
      </pc:sldChg>
      <pc:sldChg chg="modSp del mod">
        <pc:chgData name="Ekaterina Veselkova" userId="5ed5cb5c-b82d-4261-a35d-9158526644a8" providerId="ADAL" clId="{D08B7266-89B6-4AB2-BA12-93B0FB9A82D4}" dt="2021-06-18T10:36:35.465" v="324" actId="47"/>
        <pc:sldMkLst>
          <pc:docMk/>
          <pc:sldMk cId="3022956171" sldId="303"/>
        </pc:sldMkLst>
        <pc:spChg chg="mod">
          <ac:chgData name="Ekaterina Veselkova" userId="5ed5cb5c-b82d-4261-a35d-9158526644a8" providerId="ADAL" clId="{D08B7266-89B6-4AB2-BA12-93B0FB9A82D4}" dt="2021-06-18T09:37:43.434" v="238" actId="20577"/>
          <ac:spMkLst>
            <pc:docMk/>
            <pc:sldMk cId="3022956171" sldId="303"/>
            <ac:spMk id="7" creationId="{71DF29A9-ECFF-463A-9ADA-9B6C7EBCFF70}"/>
          </ac:spMkLst>
        </pc:spChg>
        <pc:spChg chg="mod">
          <ac:chgData name="Ekaterina Veselkova" userId="5ed5cb5c-b82d-4261-a35d-9158526644a8" providerId="ADAL" clId="{D08B7266-89B6-4AB2-BA12-93B0FB9A82D4}" dt="2021-06-18T09:37:28.699" v="220" actId="20577"/>
          <ac:spMkLst>
            <pc:docMk/>
            <pc:sldMk cId="3022956171" sldId="303"/>
            <ac:spMk id="23" creationId="{2D746689-244A-4E60-91F6-03FC54E5AAA7}"/>
          </ac:spMkLst>
        </pc:spChg>
      </pc:sldChg>
      <pc:sldChg chg="modSp mod">
        <pc:chgData name="Ekaterina Veselkova" userId="5ed5cb5c-b82d-4261-a35d-9158526644a8" providerId="ADAL" clId="{D08B7266-89B6-4AB2-BA12-93B0FB9A82D4}" dt="2021-06-18T09:31:53.430" v="155" actId="20577"/>
        <pc:sldMkLst>
          <pc:docMk/>
          <pc:sldMk cId="1396317339" sldId="304"/>
        </pc:sldMkLst>
        <pc:spChg chg="mod">
          <ac:chgData name="Ekaterina Veselkova" userId="5ed5cb5c-b82d-4261-a35d-9158526644a8" providerId="ADAL" clId="{D08B7266-89B6-4AB2-BA12-93B0FB9A82D4}" dt="2021-06-18T09:31:19.239" v="88" actId="20577"/>
          <ac:spMkLst>
            <pc:docMk/>
            <pc:sldMk cId="1396317339" sldId="304"/>
            <ac:spMk id="15" creationId="{3672572C-2131-4986-B343-6702207EDACD}"/>
          </ac:spMkLst>
        </pc:spChg>
        <pc:spChg chg="mod">
          <ac:chgData name="Ekaterina Veselkova" userId="5ed5cb5c-b82d-4261-a35d-9158526644a8" providerId="ADAL" clId="{D08B7266-89B6-4AB2-BA12-93B0FB9A82D4}" dt="2021-06-18T09:31:53.430" v="155" actId="20577"/>
          <ac:spMkLst>
            <pc:docMk/>
            <pc:sldMk cId="1396317339" sldId="304"/>
            <ac:spMk id="18" creationId="{B3519AA9-9EDC-4A35-90F9-C6C951C85B20}"/>
          </ac:spMkLst>
        </pc:spChg>
      </pc:sldChg>
      <pc:sldChg chg="addSp modSp add del mod">
        <pc:chgData name="Ekaterina Veselkova" userId="5ed5cb5c-b82d-4261-a35d-9158526644a8" providerId="ADAL" clId="{D08B7266-89B6-4AB2-BA12-93B0FB9A82D4}" dt="2021-06-22T18:19:43.422" v="3613" actId="47"/>
        <pc:sldMkLst>
          <pc:docMk/>
          <pc:sldMk cId="1962724615" sldId="313"/>
        </pc:sldMkLst>
        <pc:spChg chg="add mod">
          <ac:chgData name="Ekaterina Veselkova" userId="5ed5cb5c-b82d-4261-a35d-9158526644a8" providerId="ADAL" clId="{D08B7266-89B6-4AB2-BA12-93B0FB9A82D4}" dt="2021-06-18T12:39:11.351" v="3538" actId="20577"/>
          <ac:spMkLst>
            <pc:docMk/>
            <pc:sldMk cId="1962724615" sldId="313"/>
            <ac:spMk id="3" creationId="{5D5EA65F-106C-4395-981F-4E22BA579584}"/>
          </ac:spMkLst>
        </pc:spChg>
        <pc:picChg chg="mod">
          <ac:chgData name="Ekaterina Veselkova" userId="5ed5cb5c-b82d-4261-a35d-9158526644a8" providerId="ADAL" clId="{D08B7266-89B6-4AB2-BA12-93B0FB9A82D4}" dt="2021-06-18T10:46:54.388" v="477" actId="1076"/>
          <ac:picMkLst>
            <pc:docMk/>
            <pc:sldMk cId="1962724615" sldId="313"/>
            <ac:picMk id="2" creationId="{00000000-0000-0000-0000-000000000000}"/>
          </ac:picMkLst>
        </pc:picChg>
      </pc:sldChg>
      <pc:sldChg chg="add del">
        <pc:chgData name="Ekaterina Veselkova" userId="5ed5cb5c-b82d-4261-a35d-9158526644a8" providerId="ADAL" clId="{D08B7266-89B6-4AB2-BA12-93B0FB9A82D4}" dt="2021-06-18T10:48:18.484" v="485" actId="47"/>
        <pc:sldMkLst>
          <pc:docMk/>
          <pc:sldMk cId="1672650675" sldId="314"/>
        </pc:sldMkLst>
      </pc:sldChg>
      <pc:sldChg chg="delSp modSp add del mod">
        <pc:chgData name="Ekaterina Veselkova" userId="5ed5cb5c-b82d-4261-a35d-9158526644a8" providerId="ADAL" clId="{D08B7266-89B6-4AB2-BA12-93B0FB9A82D4}" dt="2021-06-18T11:02:47.109" v="640" actId="47"/>
        <pc:sldMkLst>
          <pc:docMk/>
          <pc:sldMk cId="4210559749" sldId="314"/>
        </pc:sldMkLst>
        <pc:spChg chg="mod">
          <ac:chgData name="Ekaterina Veselkova" userId="5ed5cb5c-b82d-4261-a35d-9158526644a8" providerId="ADAL" clId="{D08B7266-89B6-4AB2-BA12-93B0FB9A82D4}" dt="2021-06-18T11:00:07.971" v="611" actId="108"/>
          <ac:spMkLst>
            <pc:docMk/>
            <pc:sldMk cId="4210559749" sldId="314"/>
            <ac:spMk id="22" creationId="{9A53D92D-D61E-8141-91DB-021439C5C10B}"/>
          </ac:spMkLst>
        </pc:spChg>
        <pc:spChg chg="mod">
          <ac:chgData name="Ekaterina Veselkova" userId="5ed5cb5c-b82d-4261-a35d-9158526644a8" providerId="ADAL" clId="{D08B7266-89B6-4AB2-BA12-93B0FB9A82D4}" dt="2021-06-18T10:59:01.873" v="609" actId="207"/>
          <ac:spMkLst>
            <pc:docMk/>
            <pc:sldMk cId="4210559749" sldId="314"/>
            <ac:spMk id="23" creationId="{9A53D92D-D61E-8141-91DB-021439C5C10B}"/>
          </ac:spMkLst>
        </pc:spChg>
        <pc:spChg chg="mod">
          <ac:chgData name="Ekaterina Veselkova" userId="5ed5cb5c-b82d-4261-a35d-9158526644a8" providerId="ADAL" clId="{D08B7266-89B6-4AB2-BA12-93B0FB9A82D4}" dt="2021-06-18T11:00:21.025" v="617" actId="108"/>
          <ac:spMkLst>
            <pc:docMk/>
            <pc:sldMk cId="4210559749" sldId="314"/>
            <ac:spMk id="24" creationId="{42EAB85E-BC34-144E-8EE1-E6248CD89F6A}"/>
          </ac:spMkLst>
        </pc:spChg>
        <pc:spChg chg="mod">
          <ac:chgData name="Ekaterina Veselkova" userId="5ed5cb5c-b82d-4261-a35d-9158526644a8" providerId="ADAL" clId="{D08B7266-89B6-4AB2-BA12-93B0FB9A82D4}" dt="2021-06-18T11:00:11.910" v="614" actId="108"/>
          <ac:spMkLst>
            <pc:docMk/>
            <pc:sldMk cId="4210559749" sldId="314"/>
            <ac:spMk id="25" creationId="{42EAB85E-BC34-144E-8EE1-E6248CD89F6A}"/>
          </ac:spMkLst>
        </pc:spChg>
        <pc:spChg chg="mod">
          <ac:chgData name="Ekaterina Veselkova" userId="5ed5cb5c-b82d-4261-a35d-9158526644a8" providerId="ADAL" clId="{D08B7266-89B6-4AB2-BA12-93B0FB9A82D4}" dt="2021-06-18T10:51:59.332" v="497" actId="6549"/>
          <ac:spMkLst>
            <pc:docMk/>
            <pc:sldMk cId="4210559749" sldId="314"/>
            <ac:spMk id="27" creationId="{9D5E601E-7898-3A48-8590-94DBBFC41FD0}"/>
          </ac:spMkLst>
        </pc:spChg>
        <pc:spChg chg="del mod">
          <ac:chgData name="Ekaterina Veselkova" userId="5ed5cb5c-b82d-4261-a35d-9158526644a8" providerId="ADAL" clId="{D08B7266-89B6-4AB2-BA12-93B0FB9A82D4}" dt="2021-06-18T11:00:53.776" v="623" actId="478"/>
          <ac:spMkLst>
            <pc:docMk/>
            <pc:sldMk cId="4210559749" sldId="314"/>
            <ac:spMk id="28" creationId="{8C9A3B77-0A28-5C4F-B78A-6D18685E9AB7}"/>
          </ac:spMkLst>
        </pc:spChg>
        <pc:spChg chg="mod">
          <ac:chgData name="Ekaterina Veselkova" userId="5ed5cb5c-b82d-4261-a35d-9158526644a8" providerId="ADAL" clId="{D08B7266-89B6-4AB2-BA12-93B0FB9A82D4}" dt="2021-06-18T10:51:55.894" v="496" actId="6549"/>
          <ac:spMkLst>
            <pc:docMk/>
            <pc:sldMk cId="4210559749" sldId="314"/>
            <ac:spMk id="30" creationId="{977E71CD-539D-FF45-AA9D-78A4C2A7BA7B}"/>
          </ac:spMkLst>
        </pc:spChg>
        <pc:spChg chg="mod">
          <ac:chgData name="Ekaterina Veselkova" userId="5ed5cb5c-b82d-4261-a35d-9158526644a8" providerId="ADAL" clId="{D08B7266-89B6-4AB2-BA12-93B0FB9A82D4}" dt="2021-06-18T11:00:05.726" v="610" actId="108"/>
          <ac:spMkLst>
            <pc:docMk/>
            <pc:sldMk cId="4210559749" sldId="314"/>
            <ac:spMk id="31" creationId="{9A53D92D-D61E-8141-91DB-021439C5C10B}"/>
          </ac:spMkLst>
        </pc:spChg>
        <pc:spChg chg="mod">
          <ac:chgData name="Ekaterina Veselkova" userId="5ed5cb5c-b82d-4261-a35d-9158526644a8" providerId="ADAL" clId="{D08B7266-89B6-4AB2-BA12-93B0FB9A82D4}" dt="2021-06-18T11:00:37.072" v="621" actId="208"/>
          <ac:spMkLst>
            <pc:docMk/>
            <pc:sldMk cId="4210559749" sldId="314"/>
            <ac:spMk id="33" creationId="{35E9CD14-9EC2-334E-A902-35F78003E1A5}"/>
          </ac:spMkLst>
        </pc:spChg>
        <pc:spChg chg="mod">
          <ac:chgData name="Ekaterina Veselkova" userId="5ed5cb5c-b82d-4261-a35d-9158526644a8" providerId="ADAL" clId="{D08B7266-89B6-4AB2-BA12-93B0FB9A82D4}" dt="2021-06-18T11:00:10.192" v="613" actId="108"/>
          <ac:spMkLst>
            <pc:docMk/>
            <pc:sldMk cId="4210559749" sldId="314"/>
            <ac:spMk id="36" creationId="{42EAB85E-BC34-144E-8EE1-E6248CD89F6A}"/>
          </ac:spMkLst>
        </pc:spChg>
        <pc:spChg chg="mod">
          <ac:chgData name="Ekaterina Veselkova" userId="5ed5cb5c-b82d-4261-a35d-9158526644a8" providerId="ADAL" clId="{D08B7266-89B6-4AB2-BA12-93B0FB9A82D4}" dt="2021-06-18T11:00:09.223" v="612" actId="108"/>
          <ac:spMkLst>
            <pc:docMk/>
            <pc:sldMk cId="4210559749" sldId="314"/>
            <ac:spMk id="39" creationId="{9A53D92D-D61E-8141-91DB-021439C5C10B}"/>
          </ac:spMkLst>
        </pc:spChg>
        <pc:picChg chg="del">
          <ac:chgData name="Ekaterina Veselkova" userId="5ed5cb5c-b82d-4261-a35d-9158526644a8" providerId="ADAL" clId="{D08B7266-89B6-4AB2-BA12-93B0FB9A82D4}" dt="2021-06-18T10:51:47.004" v="495" actId="478"/>
          <ac:picMkLst>
            <pc:docMk/>
            <pc:sldMk cId="4210559749" sldId="314"/>
            <ac:picMk id="26" creationId="{50A17D98-A546-C346-9B74-2FD5D1359422}"/>
          </ac:picMkLst>
        </pc:picChg>
        <pc:picChg chg="mod">
          <ac:chgData name="Ekaterina Veselkova" userId="5ed5cb5c-b82d-4261-a35d-9158526644a8" providerId="ADAL" clId="{D08B7266-89B6-4AB2-BA12-93B0FB9A82D4}" dt="2021-06-18T11:00:24.908" v="619" actId="108"/>
          <ac:picMkLst>
            <pc:docMk/>
            <pc:sldMk cId="4210559749" sldId="314"/>
            <ac:picMk id="37" creationId="{3AD8523F-C33C-4149-A05D-463D489AF002}"/>
          </ac:picMkLst>
        </pc:picChg>
        <pc:picChg chg="del">
          <ac:chgData name="Ekaterina Veselkova" userId="5ed5cb5c-b82d-4261-a35d-9158526644a8" providerId="ADAL" clId="{D08B7266-89B6-4AB2-BA12-93B0FB9A82D4}" dt="2021-06-18T10:51:42.693" v="494" actId="478"/>
          <ac:picMkLst>
            <pc:docMk/>
            <pc:sldMk cId="4210559749" sldId="314"/>
            <ac:picMk id="38" creationId="{C187A706-441F-4A4D-B229-AA28EFEF5C6C}"/>
          </ac:picMkLst>
        </pc:picChg>
        <pc:picChg chg="del">
          <ac:chgData name="Ekaterina Veselkova" userId="5ed5cb5c-b82d-4261-a35d-9158526644a8" providerId="ADAL" clId="{D08B7266-89B6-4AB2-BA12-93B0FB9A82D4}" dt="2021-06-18T10:52:03.727" v="498" actId="478"/>
          <ac:picMkLst>
            <pc:docMk/>
            <pc:sldMk cId="4210559749" sldId="314"/>
            <ac:picMk id="58" creationId="{CC7DC2D6-2446-6D4D-83D2-06B6AB3C6412}"/>
          </ac:picMkLst>
        </pc:picChg>
      </pc:sldChg>
      <pc:sldChg chg="add del">
        <pc:chgData name="Ekaterina Veselkova" userId="5ed5cb5c-b82d-4261-a35d-9158526644a8" providerId="ADAL" clId="{D08B7266-89B6-4AB2-BA12-93B0FB9A82D4}" dt="2021-06-18T10:48:19.686" v="486" actId="47"/>
        <pc:sldMkLst>
          <pc:docMk/>
          <pc:sldMk cId="3023999849" sldId="315"/>
        </pc:sldMkLst>
      </pc:sldChg>
      <pc:sldChg chg="addSp delSp modSp add mod">
        <pc:chgData name="Ekaterina Veselkova" userId="5ed5cb5c-b82d-4261-a35d-9158526644a8" providerId="ADAL" clId="{D08B7266-89B6-4AB2-BA12-93B0FB9A82D4}" dt="2021-07-07T13:58:50.797" v="3736"/>
        <pc:sldMkLst>
          <pc:docMk/>
          <pc:sldMk cId="4076224107" sldId="317"/>
        </pc:sldMkLst>
        <pc:spChg chg="add del">
          <ac:chgData name="Ekaterina Veselkova" userId="5ed5cb5c-b82d-4261-a35d-9158526644a8" providerId="ADAL" clId="{D08B7266-89B6-4AB2-BA12-93B0FB9A82D4}" dt="2021-07-07T13:58:50.797" v="3736"/>
          <ac:spMkLst>
            <pc:docMk/>
            <pc:sldMk cId="4076224107" sldId="317"/>
            <ac:spMk id="7" creationId="{1FC83FB2-AEDD-4C8D-B64F-2F1B977AF9AB}"/>
          </ac:spMkLst>
        </pc:spChg>
        <pc:spChg chg="add del mod">
          <ac:chgData name="Ekaterina Veselkova" userId="5ed5cb5c-b82d-4261-a35d-9158526644a8" providerId="ADAL" clId="{D08B7266-89B6-4AB2-BA12-93B0FB9A82D4}" dt="2021-07-07T13:58:49.304" v="3735"/>
          <ac:spMkLst>
            <pc:docMk/>
            <pc:sldMk cId="4076224107" sldId="317"/>
            <ac:spMk id="8" creationId="{1FFB0202-47B4-4B74-BE95-7A57634C1BC0}"/>
          </ac:spMkLst>
        </pc:spChg>
        <pc:spChg chg="mod">
          <ac:chgData name="Ekaterina Veselkova" userId="5ed5cb5c-b82d-4261-a35d-9158526644a8" providerId="ADAL" clId="{D08B7266-89B6-4AB2-BA12-93B0FB9A82D4}" dt="2021-06-18T12:33:49.480" v="3498" actId="1076"/>
          <ac:spMkLst>
            <pc:docMk/>
            <pc:sldMk cId="4076224107" sldId="317"/>
            <ac:spMk id="13" creationId="{A4FEDAE8-8A78-4057-B0E8-0B4F3C14CFB7}"/>
          </ac:spMkLst>
        </pc:spChg>
        <pc:spChg chg="mod">
          <ac:chgData name="Ekaterina Veselkova" userId="5ed5cb5c-b82d-4261-a35d-9158526644a8" providerId="ADAL" clId="{D08B7266-89B6-4AB2-BA12-93B0FB9A82D4}" dt="2021-06-18T10:38:02.769" v="344" actId="1076"/>
          <ac:spMkLst>
            <pc:docMk/>
            <pc:sldMk cId="4076224107" sldId="317"/>
            <ac:spMk id="30" creationId="{2125D8B3-FC95-409F-B1E1-F1057A801912}"/>
          </ac:spMkLst>
        </pc:spChg>
        <pc:picChg chg="add mod">
          <ac:chgData name="Ekaterina Veselkova" userId="5ed5cb5c-b82d-4261-a35d-9158526644a8" providerId="ADAL" clId="{D08B7266-89B6-4AB2-BA12-93B0FB9A82D4}" dt="2021-06-22T18:20:48.042" v="3619" actId="14100"/>
          <ac:picMkLst>
            <pc:docMk/>
            <pc:sldMk cId="4076224107" sldId="317"/>
            <ac:picMk id="2" creationId="{AC1D2DDD-749B-42F6-87DF-E128627F5B4E}"/>
          </ac:picMkLst>
        </pc:picChg>
        <pc:picChg chg="add mod">
          <ac:chgData name="Ekaterina Veselkova" userId="5ed5cb5c-b82d-4261-a35d-9158526644a8" providerId="ADAL" clId="{D08B7266-89B6-4AB2-BA12-93B0FB9A82D4}" dt="2021-06-22T18:22:25.417" v="3626" actId="1076"/>
          <ac:picMkLst>
            <pc:docMk/>
            <pc:sldMk cId="4076224107" sldId="317"/>
            <ac:picMk id="3" creationId="{1745A371-7FF8-4EE3-9F61-1F4F6554BD68}"/>
          </ac:picMkLst>
        </pc:picChg>
        <pc:picChg chg="add del mod">
          <ac:chgData name="Ekaterina Veselkova" userId="5ed5cb5c-b82d-4261-a35d-9158526644a8" providerId="ADAL" clId="{D08B7266-89B6-4AB2-BA12-93B0FB9A82D4}" dt="2021-06-18T10:37:25.805" v="336"/>
          <ac:picMkLst>
            <pc:docMk/>
            <pc:sldMk cId="4076224107" sldId="317"/>
            <ac:picMk id="3" creationId="{E075C630-BF6B-4912-943C-8EFA51F3C57F}"/>
          </ac:picMkLst>
        </pc:picChg>
        <pc:picChg chg="add mod">
          <ac:chgData name="Ekaterina Veselkova" userId="5ed5cb5c-b82d-4261-a35d-9158526644a8" providerId="ADAL" clId="{D08B7266-89B6-4AB2-BA12-93B0FB9A82D4}" dt="2021-06-18T12:33:53.460" v="3499" actId="1076"/>
          <ac:picMkLst>
            <pc:docMk/>
            <pc:sldMk cId="4076224107" sldId="317"/>
            <ac:picMk id="4" creationId="{537BB24B-3223-4FAF-9D8C-5E93CCF45B26}"/>
          </ac:picMkLst>
        </pc:picChg>
        <pc:picChg chg="add del mod">
          <ac:chgData name="Ekaterina Veselkova" userId="5ed5cb5c-b82d-4261-a35d-9158526644a8" providerId="ADAL" clId="{D08B7266-89B6-4AB2-BA12-93B0FB9A82D4}" dt="2021-06-18T10:28:40.047" v="296"/>
          <ac:picMkLst>
            <pc:docMk/>
            <pc:sldMk cId="4076224107" sldId="317"/>
            <ac:picMk id="7" creationId="{2B53E96A-A545-4C92-B17E-786716799248}"/>
          </ac:picMkLst>
        </pc:picChg>
        <pc:picChg chg="del mod">
          <ac:chgData name="Ekaterina Veselkova" userId="5ed5cb5c-b82d-4261-a35d-9158526644a8" providerId="ADAL" clId="{D08B7266-89B6-4AB2-BA12-93B0FB9A82D4}" dt="2021-06-18T10:37:05.127" v="326" actId="478"/>
          <ac:picMkLst>
            <pc:docMk/>
            <pc:sldMk cId="4076224107" sldId="317"/>
            <ac:picMk id="12" creationId="{4B769424-761A-4221-AA23-89E5E9A2CE96}"/>
          </ac:picMkLst>
        </pc:picChg>
      </pc:sldChg>
      <pc:sldChg chg="addSp delSp modSp add del mod">
        <pc:chgData name="Ekaterina Veselkova" userId="5ed5cb5c-b82d-4261-a35d-9158526644a8" providerId="ADAL" clId="{D08B7266-89B6-4AB2-BA12-93B0FB9A82D4}" dt="2021-06-18T10:36:48.367" v="325" actId="47"/>
        <pc:sldMkLst>
          <pc:docMk/>
          <pc:sldMk cId="1655269543" sldId="318"/>
        </pc:sldMkLst>
        <pc:spChg chg="del">
          <ac:chgData name="Ekaterina Veselkova" userId="5ed5cb5c-b82d-4261-a35d-9158526644a8" providerId="ADAL" clId="{D08B7266-89B6-4AB2-BA12-93B0FB9A82D4}" dt="2021-06-18T10:06:34.311" v="248" actId="478"/>
          <ac:spMkLst>
            <pc:docMk/>
            <pc:sldMk cId="1655269543" sldId="318"/>
            <ac:spMk id="13" creationId="{A4FEDAE8-8A78-4057-B0E8-0B4F3C14CFB7}"/>
          </ac:spMkLst>
        </pc:spChg>
        <pc:spChg chg="del">
          <ac:chgData name="Ekaterina Veselkova" userId="5ed5cb5c-b82d-4261-a35d-9158526644a8" providerId="ADAL" clId="{D08B7266-89B6-4AB2-BA12-93B0FB9A82D4}" dt="2021-06-18T10:06:38.016" v="249" actId="478"/>
          <ac:spMkLst>
            <pc:docMk/>
            <pc:sldMk cId="1655269543" sldId="318"/>
            <ac:spMk id="30" creationId="{2125D8B3-FC95-409F-B1E1-F1057A801912}"/>
          </ac:spMkLst>
        </pc:spChg>
        <pc:picChg chg="add del">
          <ac:chgData name="Ekaterina Veselkova" userId="5ed5cb5c-b82d-4261-a35d-9158526644a8" providerId="ADAL" clId="{D08B7266-89B6-4AB2-BA12-93B0FB9A82D4}" dt="2021-06-18T10:08:07.478" v="251"/>
          <ac:picMkLst>
            <pc:docMk/>
            <pc:sldMk cId="1655269543" sldId="318"/>
            <ac:picMk id="2" creationId="{A52AF4D4-BC5F-422D-AE67-0DB6F9761FB7}"/>
          </ac:picMkLst>
        </pc:picChg>
        <pc:picChg chg="add del mod ord">
          <ac:chgData name="Ekaterina Veselkova" userId="5ed5cb5c-b82d-4261-a35d-9158526644a8" providerId="ADAL" clId="{D08B7266-89B6-4AB2-BA12-93B0FB9A82D4}" dt="2021-06-18T10:09:49.512" v="261" actId="478"/>
          <ac:picMkLst>
            <pc:docMk/>
            <pc:sldMk cId="1655269543" sldId="318"/>
            <ac:picMk id="3" creationId="{3C955AE8-B2DA-455B-B257-94D6BD5BEC88}"/>
          </ac:picMkLst>
        </pc:picChg>
        <pc:picChg chg="add del mod">
          <ac:chgData name="Ekaterina Veselkova" userId="5ed5cb5c-b82d-4261-a35d-9158526644a8" providerId="ADAL" clId="{D08B7266-89B6-4AB2-BA12-93B0FB9A82D4}" dt="2021-06-18T10:12:07.430" v="277" actId="478"/>
          <ac:picMkLst>
            <pc:docMk/>
            <pc:sldMk cId="1655269543" sldId="318"/>
            <ac:picMk id="4" creationId="{71397487-BE6F-4423-B714-F165A56410BC}"/>
          </ac:picMkLst>
        </pc:picChg>
        <pc:picChg chg="add mod">
          <ac:chgData name="Ekaterina Veselkova" userId="5ed5cb5c-b82d-4261-a35d-9158526644a8" providerId="ADAL" clId="{D08B7266-89B6-4AB2-BA12-93B0FB9A82D4}" dt="2021-06-18T10:11:19.221" v="272" actId="14100"/>
          <ac:picMkLst>
            <pc:docMk/>
            <pc:sldMk cId="1655269543" sldId="318"/>
            <ac:picMk id="7" creationId="{2CD3CAAE-4674-461C-956A-08AB977C29E4}"/>
          </ac:picMkLst>
        </pc:picChg>
        <pc:picChg chg="add del">
          <ac:chgData name="Ekaterina Veselkova" userId="5ed5cb5c-b82d-4261-a35d-9158526644a8" providerId="ADAL" clId="{D08B7266-89B6-4AB2-BA12-93B0FB9A82D4}" dt="2021-06-18T10:16:48.546" v="294" actId="478"/>
          <ac:picMkLst>
            <pc:docMk/>
            <pc:sldMk cId="1655269543" sldId="318"/>
            <ac:picMk id="8" creationId="{93FA765F-1E90-4636-A00B-E49FCB85D3AF}"/>
          </ac:picMkLst>
        </pc:picChg>
        <pc:picChg chg="add del">
          <ac:chgData name="Ekaterina Veselkova" userId="5ed5cb5c-b82d-4261-a35d-9158526644a8" providerId="ADAL" clId="{D08B7266-89B6-4AB2-BA12-93B0FB9A82D4}" dt="2021-06-18T10:14:57.150" v="282"/>
          <ac:picMkLst>
            <pc:docMk/>
            <pc:sldMk cId="1655269543" sldId="318"/>
            <ac:picMk id="9" creationId="{7ADC681A-5834-41B1-B944-A3CC2868D9F4}"/>
          </ac:picMkLst>
        </pc:picChg>
        <pc:picChg chg="add mod ord">
          <ac:chgData name="Ekaterina Veselkova" userId="5ed5cb5c-b82d-4261-a35d-9158526644a8" providerId="ADAL" clId="{D08B7266-89B6-4AB2-BA12-93B0FB9A82D4}" dt="2021-06-18T10:16:38.477" v="293" actId="167"/>
          <ac:picMkLst>
            <pc:docMk/>
            <pc:sldMk cId="1655269543" sldId="318"/>
            <ac:picMk id="10" creationId="{990D38EF-249E-432D-9186-7B2A29556566}"/>
          </ac:picMkLst>
        </pc:picChg>
        <pc:picChg chg="add del mod">
          <ac:chgData name="Ekaterina Veselkova" userId="5ed5cb5c-b82d-4261-a35d-9158526644a8" providerId="ADAL" clId="{D08B7266-89B6-4AB2-BA12-93B0FB9A82D4}" dt="2021-06-18T10:12:41.072" v="279"/>
          <ac:picMkLst>
            <pc:docMk/>
            <pc:sldMk cId="1655269543" sldId="318"/>
            <ac:picMk id="11" creationId="{EC847E85-19A4-4EF7-A371-EE4DA81A55E1}"/>
          </ac:picMkLst>
        </pc:picChg>
        <pc:picChg chg="del mod ord">
          <ac:chgData name="Ekaterina Veselkova" userId="5ed5cb5c-b82d-4261-a35d-9158526644a8" providerId="ADAL" clId="{D08B7266-89B6-4AB2-BA12-93B0FB9A82D4}" dt="2021-06-18T10:11:04.398" v="267" actId="478"/>
          <ac:picMkLst>
            <pc:docMk/>
            <pc:sldMk cId="1655269543" sldId="318"/>
            <ac:picMk id="12" creationId="{4B769424-761A-4221-AA23-89E5E9A2CE96}"/>
          </ac:picMkLst>
        </pc:picChg>
      </pc:sldChg>
      <pc:sldChg chg="addSp delSp modSp add del mod">
        <pc:chgData name="Ekaterina Veselkova" userId="5ed5cb5c-b82d-4261-a35d-9158526644a8" providerId="ADAL" clId="{D08B7266-89B6-4AB2-BA12-93B0FB9A82D4}" dt="2021-06-18T10:38:09.940" v="345" actId="47"/>
        <pc:sldMkLst>
          <pc:docMk/>
          <pc:sldMk cId="280209354" sldId="319"/>
        </pc:sldMkLst>
        <pc:picChg chg="add">
          <ac:chgData name="Ekaterina Veselkova" userId="5ed5cb5c-b82d-4261-a35d-9158526644a8" providerId="ADAL" clId="{D08B7266-89B6-4AB2-BA12-93B0FB9A82D4}" dt="2021-06-18T10:28:56.750" v="302"/>
          <ac:picMkLst>
            <pc:docMk/>
            <pc:sldMk cId="280209354" sldId="319"/>
            <ac:picMk id="2" creationId="{0ED731BC-5D4D-48E9-AF6D-8482A98137CD}"/>
          </ac:picMkLst>
        </pc:picChg>
        <pc:picChg chg="add del mod">
          <ac:chgData name="Ekaterina Veselkova" userId="5ed5cb5c-b82d-4261-a35d-9158526644a8" providerId="ADAL" clId="{D08B7266-89B6-4AB2-BA12-93B0FB9A82D4}" dt="2021-06-18T10:29:41.690" v="312"/>
          <ac:picMkLst>
            <pc:docMk/>
            <pc:sldMk cId="280209354" sldId="319"/>
            <ac:picMk id="3" creationId="{613931BD-6093-45DD-B3AC-29D28219CCE6}"/>
          </ac:picMkLst>
        </pc:picChg>
        <pc:picChg chg="add mod">
          <ac:chgData name="Ekaterina Veselkova" userId="5ed5cb5c-b82d-4261-a35d-9158526644a8" providerId="ADAL" clId="{D08B7266-89B6-4AB2-BA12-93B0FB9A82D4}" dt="2021-06-18T10:31:53.852" v="314" actId="1076"/>
          <ac:picMkLst>
            <pc:docMk/>
            <pc:sldMk cId="280209354" sldId="319"/>
            <ac:picMk id="4" creationId="{1F35AFC0-7CB8-4ADF-95B2-97A7E3C07568}"/>
          </ac:picMkLst>
        </pc:picChg>
        <pc:picChg chg="del">
          <ac:chgData name="Ekaterina Veselkova" userId="5ed5cb5c-b82d-4261-a35d-9158526644a8" providerId="ADAL" clId="{D08B7266-89B6-4AB2-BA12-93B0FB9A82D4}" dt="2021-06-18T10:28:46.989" v="298" actId="478"/>
          <ac:picMkLst>
            <pc:docMk/>
            <pc:sldMk cId="280209354" sldId="319"/>
            <ac:picMk id="7" creationId="{2CD3CAAE-4674-461C-956A-08AB977C29E4}"/>
          </ac:picMkLst>
        </pc:picChg>
        <pc:picChg chg="add del mod">
          <ac:chgData name="Ekaterina Veselkova" userId="5ed5cb5c-b82d-4261-a35d-9158526644a8" providerId="ADAL" clId="{D08B7266-89B6-4AB2-BA12-93B0FB9A82D4}" dt="2021-06-18T10:28:53.684" v="301"/>
          <ac:picMkLst>
            <pc:docMk/>
            <pc:sldMk cId="280209354" sldId="319"/>
            <ac:picMk id="8" creationId="{02290712-D7E3-4117-8FA6-40F433FEAEA6}"/>
          </ac:picMkLst>
        </pc:picChg>
        <pc:picChg chg="del">
          <ac:chgData name="Ekaterina Veselkova" userId="5ed5cb5c-b82d-4261-a35d-9158526644a8" providerId="ADAL" clId="{D08B7266-89B6-4AB2-BA12-93B0FB9A82D4}" dt="2021-06-18T10:28:47.870" v="299" actId="478"/>
          <ac:picMkLst>
            <pc:docMk/>
            <pc:sldMk cId="280209354" sldId="319"/>
            <ac:picMk id="10" creationId="{990D38EF-249E-432D-9186-7B2A29556566}"/>
          </ac:picMkLst>
        </pc:picChg>
      </pc:sldChg>
      <pc:sldChg chg="addSp delSp modSp add mod">
        <pc:chgData name="Ekaterina Veselkova" userId="5ed5cb5c-b82d-4261-a35d-9158526644a8" providerId="ADAL" clId="{D08B7266-89B6-4AB2-BA12-93B0FB9A82D4}" dt="2021-06-22T18:32:15.632" v="3690" actId="1076"/>
        <pc:sldMkLst>
          <pc:docMk/>
          <pc:sldMk cId="1496511037" sldId="341"/>
        </pc:sldMkLst>
        <pc:spChg chg="mod">
          <ac:chgData name="Ekaterina Veselkova" userId="5ed5cb5c-b82d-4261-a35d-9158526644a8" providerId="ADAL" clId="{D08B7266-89B6-4AB2-BA12-93B0FB9A82D4}" dt="2021-06-18T11:16:28.342" v="1003" actId="20577"/>
          <ac:spMkLst>
            <pc:docMk/>
            <pc:sldMk cId="1496511037" sldId="341"/>
            <ac:spMk id="4" creationId="{00000000-0000-0000-0000-000000000000}"/>
          </ac:spMkLst>
        </pc:spChg>
        <pc:spChg chg="del">
          <ac:chgData name="Ekaterina Veselkova" userId="5ed5cb5c-b82d-4261-a35d-9158526644a8" providerId="ADAL" clId="{D08B7266-89B6-4AB2-BA12-93B0FB9A82D4}" dt="2021-06-22T18:32:10.825" v="3689" actId="478"/>
          <ac:spMkLst>
            <pc:docMk/>
            <pc:sldMk cId="1496511037" sldId="341"/>
            <ac:spMk id="5" creationId="{00000000-0000-0000-0000-000000000000}"/>
          </ac:spMkLst>
        </pc:spChg>
        <pc:spChg chg="add mod">
          <ac:chgData name="Ekaterina Veselkova" userId="5ed5cb5c-b82d-4261-a35d-9158526644a8" providerId="ADAL" clId="{D08B7266-89B6-4AB2-BA12-93B0FB9A82D4}" dt="2021-06-22T18:23:05.302" v="3632" actId="14100"/>
          <ac:spMkLst>
            <pc:docMk/>
            <pc:sldMk cId="1496511037" sldId="341"/>
            <ac:spMk id="7" creationId="{A200A81F-2D45-44CD-AC85-38AE749A348B}"/>
          </ac:spMkLst>
        </pc:spChg>
        <pc:spChg chg="mod">
          <ac:chgData name="Ekaterina Veselkova" userId="5ed5cb5c-b82d-4261-a35d-9158526644a8" providerId="ADAL" clId="{D08B7266-89B6-4AB2-BA12-93B0FB9A82D4}" dt="2021-06-22T18:32:15.632" v="3690" actId="1076"/>
          <ac:spMkLst>
            <pc:docMk/>
            <pc:sldMk cId="1496511037" sldId="341"/>
            <ac:spMk id="10" creationId="{00000000-0000-0000-0000-000000000000}"/>
          </ac:spMkLst>
        </pc:spChg>
        <pc:picChg chg="add mod">
          <ac:chgData name="Ekaterina Veselkova" userId="5ed5cb5c-b82d-4261-a35d-9158526644a8" providerId="ADAL" clId="{D08B7266-89B6-4AB2-BA12-93B0FB9A82D4}" dt="2021-06-22T18:23:24.048" v="3637" actId="1076"/>
          <ac:picMkLst>
            <pc:docMk/>
            <pc:sldMk cId="1496511037" sldId="341"/>
            <ac:picMk id="2" creationId="{8764453C-2C2B-4201-8BCE-8A1FC58BD551}"/>
          </ac:picMkLst>
        </pc:picChg>
        <pc:picChg chg="add mod ord">
          <ac:chgData name="Ekaterina Veselkova" userId="5ed5cb5c-b82d-4261-a35d-9158526644a8" providerId="ADAL" clId="{D08B7266-89B6-4AB2-BA12-93B0FB9A82D4}" dt="2021-06-22T18:23:22.329" v="3636" actId="1076"/>
          <ac:picMkLst>
            <pc:docMk/>
            <pc:sldMk cId="1496511037" sldId="341"/>
            <ac:picMk id="3" creationId="{4CB3F33E-1E08-42EE-AE3E-51763573492F}"/>
          </ac:picMkLst>
        </pc:picChg>
        <pc:picChg chg="del">
          <ac:chgData name="Ekaterina Veselkova" userId="5ed5cb5c-b82d-4261-a35d-9158526644a8" providerId="ADAL" clId="{D08B7266-89B6-4AB2-BA12-93B0FB9A82D4}" dt="2021-06-18T11:14:15.958" v="987" actId="478"/>
          <ac:picMkLst>
            <pc:docMk/>
            <pc:sldMk cId="1496511037" sldId="341"/>
            <ac:picMk id="6" creationId="{00000000-0000-0000-0000-000000000000}"/>
          </ac:picMkLst>
        </pc:picChg>
        <pc:picChg chg="del">
          <ac:chgData name="Ekaterina Veselkova" userId="5ed5cb5c-b82d-4261-a35d-9158526644a8" providerId="ADAL" clId="{D08B7266-89B6-4AB2-BA12-93B0FB9A82D4}" dt="2021-06-18T11:14:15.191" v="986" actId="478"/>
          <ac:picMkLst>
            <pc:docMk/>
            <pc:sldMk cId="1496511037" sldId="341"/>
            <ac:picMk id="7" creationId="{00000000-0000-0000-0000-000000000000}"/>
          </ac:picMkLst>
        </pc:picChg>
        <pc:picChg chg="del">
          <ac:chgData name="Ekaterina Veselkova" userId="5ed5cb5c-b82d-4261-a35d-9158526644a8" providerId="ADAL" clId="{D08B7266-89B6-4AB2-BA12-93B0FB9A82D4}" dt="2021-06-18T11:14:17.377" v="989" actId="478"/>
          <ac:picMkLst>
            <pc:docMk/>
            <pc:sldMk cId="1496511037" sldId="341"/>
            <ac:picMk id="8" creationId="{00000000-0000-0000-0000-000000000000}"/>
          </ac:picMkLst>
        </pc:picChg>
        <pc:picChg chg="add mod">
          <ac:chgData name="Ekaterina Veselkova" userId="5ed5cb5c-b82d-4261-a35d-9158526644a8" providerId="ADAL" clId="{D08B7266-89B6-4AB2-BA12-93B0FB9A82D4}" dt="2021-06-22T18:23:40.761" v="3641" actId="1076"/>
          <ac:picMkLst>
            <pc:docMk/>
            <pc:sldMk cId="1496511037" sldId="341"/>
            <ac:picMk id="8" creationId="{B5D900FE-0297-4329-A97C-42F88B03A45A}"/>
          </ac:picMkLst>
        </pc:picChg>
        <pc:picChg chg="del">
          <ac:chgData name="Ekaterina Veselkova" userId="5ed5cb5c-b82d-4261-a35d-9158526644a8" providerId="ADAL" clId="{D08B7266-89B6-4AB2-BA12-93B0FB9A82D4}" dt="2021-06-18T11:14:16.860" v="988" actId="478"/>
          <ac:picMkLst>
            <pc:docMk/>
            <pc:sldMk cId="1496511037" sldId="341"/>
            <ac:picMk id="9" creationId="{00000000-0000-0000-0000-000000000000}"/>
          </ac:picMkLst>
        </pc:picChg>
      </pc:sldChg>
      <pc:sldChg chg="addSp delSp modSp add mod">
        <pc:chgData name="Ekaterina Veselkova" userId="5ed5cb5c-b82d-4261-a35d-9158526644a8" providerId="ADAL" clId="{D08B7266-89B6-4AB2-BA12-93B0FB9A82D4}" dt="2021-07-07T13:59:14.704" v="3737" actId="20577"/>
        <pc:sldMkLst>
          <pc:docMk/>
          <pc:sldMk cId="3780737834" sldId="578"/>
        </pc:sldMkLst>
        <pc:spChg chg="add mod">
          <ac:chgData name="Ekaterina Veselkova" userId="5ed5cb5c-b82d-4261-a35d-9158526644a8" providerId="ADAL" clId="{D08B7266-89B6-4AB2-BA12-93B0FB9A82D4}" dt="2021-06-22T18:22:04.548" v="3624" actId="208"/>
          <ac:spMkLst>
            <pc:docMk/>
            <pc:sldMk cId="3780737834" sldId="578"/>
            <ac:spMk id="2" creationId="{C15B0335-91D2-4FC9-9DB1-A406581B9080}"/>
          </ac:spMkLst>
        </pc:spChg>
        <pc:spChg chg="del">
          <ac:chgData name="Ekaterina Veselkova" userId="5ed5cb5c-b82d-4261-a35d-9158526644a8" providerId="ADAL" clId="{D08B7266-89B6-4AB2-BA12-93B0FB9A82D4}" dt="2021-06-18T10:44:55.602" v="348" actId="478"/>
          <ac:spMkLst>
            <pc:docMk/>
            <pc:sldMk cId="3780737834" sldId="578"/>
            <ac:spMk id="11" creationId="{5A4FAFDB-FF88-404F-880E-9554B493BFD4}"/>
          </ac:spMkLst>
        </pc:spChg>
        <pc:spChg chg="del">
          <ac:chgData name="Ekaterina Veselkova" userId="5ed5cb5c-b82d-4261-a35d-9158526644a8" providerId="ADAL" clId="{D08B7266-89B6-4AB2-BA12-93B0FB9A82D4}" dt="2021-06-18T10:44:58.323" v="349" actId="478"/>
          <ac:spMkLst>
            <pc:docMk/>
            <pc:sldMk cId="3780737834" sldId="578"/>
            <ac:spMk id="12" creationId="{00000000-0000-0000-0000-000000000000}"/>
          </ac:spMkLst>
        </pc:spChg>
        <pc:spChg chg="mod">
          <ac:chgData name="Ekaterina Veselkova" userId="5ed5cb5c-b82d-4261-a35d-9158526644a8" providerId="ADAL" clId="{D08B7266-89B6-4AB2-BA12-93B0FB9A82D4}" dt="2021-06-18T11:50:38.576" v="1289" actId="20577"/>
          <ac:spMkLst>
            <pc:docMk/>
            <pc:sldMk cId="3780737834" sldId="578"/>
            <ac:spMk id="15" creationId="{B7953F79-8F06-4814-8647-D0B5117F7D1F}"/>
          </ac:spMkLst>
        </pc:spChg>
        <pc:spChg chg="mod">
          <ac:chgData name="Ekaterina Veselkova" userId="5ed5cb5c-b82d-4261-a35d-9158526644a8" providerId="ADAL" clId="{D08B7266-89B6-4AB2-BA12-93B0FB9A82D4}" dt="2021-06-18T11:51:04.865" v="1325" actId="20577"/>
          <ac:spMkLst>
            <pc:docMk/>
            <pc:sldMk cId="3780737834" sldId="578"/>
            <ac:spMk id="16" creationId="{02CEA9F1-B429-4B27-9CD4-E0C5FEFEC56A}"/>
          </ac:spMkLst>
        </pc:spChg>
        <pc:spChg chg="mod">
          <ac:chgData name="Ekaterina Veselkova" userId="5ed5cb5c-b82d-4261-a35d-9158526644a8" providerId="ADAL" clId="{D08B7266-89B6-4AB2-BA12-93B0FB9A82D4}" dt="2021-06-18T12:24:10.918" v="2862" actId="1076"/>
          <ac:spMkLst>
            <pc:docMk/>
            <pc:sldMk cId="3780737834" sldId="578"/>
            <ac:spMk id="20" creationId="{11A03A57-8F01-4A31-827F-18EE7F45E50A}"/>
          </ac:spMkLst>
        </pc:spChg>
        <pc:spChg chg="mod">
          <ac:chgData name="Ekaterina Veselkova" userId="5ed5cb5c-b82d-4261-a35d-9158526644a8" providerId="ADAL" clId="{D08B7266-89B6-4AB2-BA12-93B0FB9A82D4}" dt="2021-06-18T11:50:59.768" v="1307" actId="20577"/>
          <ac:spMkLst>
            <pc:docMk/>
            <pc:sldMk cId="3780737834" sldId="578"/>
            <ac:spMk id="21" creationId="{C97FDAC9-730B-4031-8517-3E7E478B5359}"/>
          </ac:spMkLst>
        </pc:spChg>
        <pc:spChg chg="mod">
          <ac:chgData name="Ekaterina Veselkova" userId="5ed5cb5c-b82d-4261-a35d-9158526644a8" providerId="ADAL" clId="{D08B7266-89B6-4AB2-BA12-93B0FB9A82D4}" dt="2021-06-18T12:24:22.815" v="2867" actId="1076"/>
          <ac:spMkLst>
            <pc:docMk/>
            <pc:sldMk cId="3780737834" sldId="578"/>
            <ac:spMk id="22" creationId="{58B7FFB6-B129-4AD4-8FBF-B69709C89C96}"/>
          </ac:spMkLst>
        </pc:spChg>
        <pc:spChg chg="mod">
          <ac:chgData name="Ekaterina Veselkova" userId="5ed5cb5c-b82d-4261-a35d-9158526644a8" providerId="ADAL" clId="{D08B7266-89B6-4AB2-BA12-93B0FB9A82D4}" dt="2021-06-18T12:42:34.709" v="3572" actId="20577"/>
          <ac:spMkLst>
            <pc:docMk/>
            <pc:sldMk cId="3780737834" sldId="578"/>
            <ac:spMk id="25" creationId="{CDE4AE7E-585A-4898-910C-193150083B07}"/>
          </ac:spMkLst>
        </pc:spChg>
        <pc:spChg chg="mod">
          <ac:chgData name="Ekaterina Veselkova" userId="5ed5cb5c-b82d-4261-a35d-9158526644a8" providerId="ADAL" clId="{D08B7266-89B6-4AB2-BA12-93B0FB9A82D4}" dt="2021-06-18T12:15:51.706" v="2437" actId="255"/>
          <ac:spMkLst>
            <pc:docMk/>
            <pc:sldMk cId="3780737834" sldId="578"/>
            <ac:spMk id="28" creationId="{9D4D7FCB-7677-4014-8BF4-7197C9091325}"/>
          </ac:spMkLst>
        </pc:spChg>
        <pc:spChg chg="mod">
          <ac:chgData name="Ekaterina Veselkova" userId="5ed5cb5c-b82d-4261-a35d-9158526644a8" providerId="ADAL" clId="{D08B7266-89B6-4AB2-BA12-93B0FB9A82D4}" dt="2021-06-22T19:43:59.665" v="3693" actId="108"/>
          <ac:spMkLst>
            <pc:docMk/>
            <pc:sldMk cId="3780737834" sldId="578"/>
            <ac:spMk id="31" creationId="{14947E48-7599-4369-859D-1913A7973E38}"/>
          </ac:spMkLst>
        </pc:spChg>
        <pc:spChg chg="mod">
          <ac:chgData name="Ekaterina Veselkova" userId="5ed5cb5c-b82d-4261-a35d-9158526644a8" providerId="ADAL" clId="{D08B7266-89B6-4AB2-BA12-93B0FB9A82D4}" dt="2021-06-22T19:42:47.140" v="3692" actId="20577"/>
          <ac:spMkLst>
            <pc:docMk/>
            <pc:sldMk cId="3780737834" sldId="578"/>
            <ac:spMk id="32" creationId="{1DFC8936-1B3A-4A51-9CBD-8251E7590D80}"/>
          </ac:spMkLst>
        </pc:spChg>
        <pc:spChg chg="mod">
          <ac:chgData name="Ekaterina Veselkova" userId="5ed5cb5c-b82d-4261-a35d-9158526644a8" providerId="ADAL" clId="{D08B7266-89B6-4AB2-BA12-93B0FB9A82D4}" dt="2021-06-22T18:31:05.245" v="3685" actId="1076"/>
          <ac:spMkLst>
            <pc:docMk/>
            <pc:sldMk cId="3780737834" sldId="578"/>
            <ac:spMk id="34" creationId="{F9F6612F-A554-4A76-9637-DD38FBD901BF}"/>
          </ac:spMkLst>
        </pc:spChg>
        <pc:spChg chg="mod">
          <ac:chgData name="Ekaterina Veselkova" userId="5ed5cb5c-b82d-4261-a35d-9158526644a8" providerId="ADAL" clId="{D08B7266-89B6-4AB2-BA12-93B0FB9A82D4}" dt="2021-06-18T12:34:05.810" v="3500" actId="20577"/>
          <ac:spMkLst>
            <pc:docMk/>
            <pc:sldMk cId="3780737834" sldId="578"/>
            <ac:spMk id="35" creationId="{DE5C8936-CD05-42F3-A12F-F5DCFF024749}"/>
          </ac:spMkLst>
        </pc:spChg>
        <pc:spChg chg="mod">
          <ac:chgData name="Ekaterina Veselkova" userId="5ed5cb5c-b82d-4261-a35d-9158526644a8" providerId="ADAL" clId="{D08B7266-89B6-4AB2-BA12-93B0FB9A82D4}" dt="2021-06-22T18:31:11.615" v="3686" actId="1076"/>
          <ac:spMkLst>
            <pc:docMk/>
            <pc:sldMk cId="3780737834" sldId="578"/>
            <ac:spMk id="38" creationId="{7280DBEA-DC73-465F-B7E1-45070FB5CF68}"/>
          </ac:spMkLst>
        </pc:spChg>
        <pc:spChg chg="mod">
          <ac:chgData name="Ekaterina Veselkova" userId="5ed5cb5c-b82d-4261-a35d-9158526644a8" providerId="ADAL" clId="{D08B7266-89B6-4AB2-BA12-93B0FB9A82D4}" dt="2021-07-07T13:59:14.704" v="3737" actId="20577"/>
          <ac:spMkLst>
            <pc:docMk/>
            <pc:sldMk cId="3780737834" sldId="578"/>
            <ac:spMk id="39" creationId="{8C8DC0B1-9A10-4768-A2FE-9420004BF5B8}"/>
          </ac:spMkLst>
        </pc:spChg>
        <pc:spChg chg="mod">
          <ac:chgData name="Ekaterina Veselkova" userId="5ed5cb5c-b82d-4261-a35d-9158526644a8" providerId="ADAL" clId="{D08B7266-89B6-4AB2-BA12-93B0FB9A82D4}" dt="2021-06-22T18:25:39.153" v="3644" actId="255"/>
          <ac:spMkLst>
            <pc:docMk/>
            <pc:sldMk cId="3780737834" sldId="578"/>
            <ac:spMk id="40" creationId="{66D2817E-1865-4360-9DC9-2244A839C09E}"/>
          </ac:spMkLst>
        </pc:spChg>
        <pc:spChg chg="mod ord">
          <ac:chgData name="Ekaterina Veselkova" userId="5ed5cb5c-b82d-4261-a35d-9158526644a8" providerId="ADAL" clId="{D08B7266-89B6-4AB2-BA12-93B0FB9A82D4}" dt="2021-06-22T18:25:53.472" v="3647" actId="1076"/>
          <ac:spMkLst>
            <pc:docMk/>
            <pc:sldMk cId="3780737834" sldId="578"/>
            <ac:spMk id="41" creationId="{FBF5A441-18FD-4E9B-8D22-223F50D84F56}"/>
          </ac:spMkLst>
        </pc:spChg>
        <pc:picChg chg="add del">
          <ac:chgData name="Ekaterina Veselkova" userId="5ed5cb5c-b82d-4261-a35d-9158526644a8" providerId="ADAL" clId="{D08B7266-89B6-4AB2-BA12-93B0FB9A82D4}" dt="2021-06-18T10:49:49.979" v="488" actId="478"/>
          <ac:picMkLst>
            <pc:docMk/>
            <pc:sldMk cId="3780737834" sldId="578"/>
            <ac:picMk id="2" creationId="{3DE1AE03-3689-4AB0-88AB-E765ABFB615E}"/>
          </ac:picMkLst>
        </pc:picChg>
        <pc:picChg chg="del">
          <ac:chgData name="Ekaterina Veselkova" userId="5ed5cb5c-b82d-4261-a35d-9158526644a8" providerId="ADAL" clId="{D08B7266-89B6-4AB2-BA12-93B0FB9A82D4}" dt="2021-06-18T11:51:28.581" v="1356" actId="478"/>
          <ac:picMkLst>
            <pc:docMk/>
            <pc:sldMk cId="3780737834" sldId="578"/>
            <ac:picMk id="4" creationId="{1AFBFDF8-7495-45A8-9AAB-68554D37A6C6}"/>
          </ac:picMkLst>
        </pc:picChg>
        <pc:picChg chg="add del mod">
          <ac:chgData name="Ekaterina Veselkova" userId="5ed5cb5c-b82d-4261-a35d-9158526644a8" providerId="ADAL" clId="{D08B7266-89B6-4AB2-BA12-93B0FB9A82D4}" dt="2021-06-18T11:55:14.401" v="1380"/>
          <ac:picMkLst>
            <pc:docMk/>
            <pc:sldMk cId="3780737834" sldId="578"/>
            <ac:picMk id="5" creationId="{444A6F0F-31F7-444B-8979-0364E45B54E8}"/>
          </ac:picMkLst>
        </pc:picChg>
        <pc:picChg chg="add del mod">
          <ac:chgData name="Ekaterina Veselkova" userId="5ed5cb5c-b82d-4261-a35d-9158526644a8" providerId="ADAL" clId="{D08B7266-89B6-4AB2-BA12-93B0FB9A82D4}" dt="2021-06-18T11:58:26.142" v="1389" actId="478"/>
          <ac:picMkLst>
            <pc:docMk/>
            <pc:sldMk cId="3780737834" sldId="578"/>
            <ac:picMk id="7" creationId="{E34AE785-FBD2-474B-B5FB-1E1EE795B0E3}"/>
          </ac:picMkLst>
        </pc:picChg>
        <pc:picChg chg="add mod">
          <ac:chgData name="Ekaterina Veselkova" userId="5ed5cb5c-b82d-4261-a35d-9158526644a8" providerId="ADAL" clId="{D08B7266-89B6-4AB2-BA12-93B0FB9A82D4}" dt="2021-06-22T18:30:54.462" v="3684" actId="1076"/>
          <ac:picMkLst>
            <pc:docMk/>
            <pc:sldMk cId="3780737834" sldId="578"/>
            <ac:picMk id="8" creationId="{56D5B4EB-66E6-434A-80EE-84F5ED2AB52E}"/>
          </ac:picMkLst>
        </pc:picChg>
        <pc:picChg chg="del">
          <ac:chgData name="Ekaterina Veselkova" userId="5ed5cb5c-b82d-4261-a35d-9158526644a8" providerId="ADAL" clId="{D08B7266-89B6-4AB2-BA12-93B0FB9A82D4}" dt="2021-06-18T11:50:49.911" v="1292" actId="478"/>
          <ac:picMkLst>
            <pc:docMk/>
            <pc:sldMk cId="3780737834" sldId="578"/>
            <ac:picMk id="23" creationId="{51D2ACBB-6C06-4F16-80A6-40C6C0459457}"/>
          </ac:picMkLst>
        </pc:picChg>
        <pc:picChg chg="del">
          <ac:chgData name="Ekaterina Veselkova" userId="5ed5cb5c-b82d-4261-a35d-9158526644a8" providerId="ADAL" clId="{D08B7266-89B6-4AB2-BA12-93B0FB9A82D4}" dt="2021-06-18T11:51:27.763" v="1355" actId="478"/>
          <ac:picMkLst>
            <pc:docMk/>
            <pc:sldMk cId="3780737834" sldId="578"/>
            <ac:picMk id="24" creationId="{A636684D-94E4-4D05-AA93-F61115300800}"/>
          </ac:picMkLst>
        </pc:picChg>
        <pc:picChg chg="del">
          <ac:chgData name="Ekaterina Veselkova" userId="5ed5cb5c-b82d-4261-a35d-9158526644a8" providerId="ADAL" clId="{D08B7266-89B6-4AB2-BA12-93B0FB9A82D4}" dt="2021-06-18T11:50:41.561" v="1290" actId="478"/>
          <ac:picMkLst>
            <pc:docMk/>
            <pc:sldMk cId="3780737834" sldId="578"/>
            <ac:picMk id="29" creationId="{4E1BECBF-7912-4422-8DA4-A7006A4DBAE2}"/>
          </ac:picMkLst>
        </pc:picChg>
        <pc:picChg chg="mod">
          <ac:chgData name="Ekaterina Veselkova" userId="5ed5cb5c-b82d-4261-a35d-9158526644a8" providerId="ADAL" clId="{D08B7266-89B6-4AB2-BA12-93B0FB9A82D4}" dt="2021-06-18T11:50:44.552" v="1291" actId="14100"/>
          <ac:picMkLst>
            <pc:docMk/>
            <pc:sldMk cId="3780737834" sldId="578"/>
            <ac:picMk id="30" creationId="{F90FE829-FFE0-4C5D-83CF-4EC6B42FC717}"/>
          </ac:picMkLst>
        </pc:picChg>
        <pc:picChg chg="mod">
          <ac:chgData name="Ekaterina Veselkova" userId="5ed5cb5c-b82d-4261-a35d-9158526644a8" providerId="ADAL" clId="{D08B7266-89B6-4AB2-BA12-93B0FB9A82D4}" dt="2021-06-22T18:30:42.960" v="3682" actId="1076"/>
          <ac:picMkLst>
            <pc:docMk/>
            <pc:sldMk cId="3780737834" sldId="578"/>
            <ac:picMk id="33" creationId="{BE17AA20-5088-42B5-8EA3-A5BE33952B53}"/>
          </ac:picMkLst>
        </pc:picChg>
        <pc:picChg chg="add mod">
          <ac:chgData name="Ekaterina Veselkova" userId="5ed5cb5c-b82d-4261-a35d-9158526644a8" providerId="ADAL" clId="{D08B7266-89B6-4AB2-BA12-93B0FB9A82D4}" dt="2021-06-22T18:21:01.556" v="3621" actId="1076"/>
          <ac:picMkLst>
            <pc:docMk/>
            <pc:sldMk cId="3780737834" sldId="578"/>
            <ac:picMk id="36" creationId="{34AE2836-0734-48DA-8764-546DFBE5C434}"/>
          </ac:picMkLst>
        </pc:picChg>
        <pc:picChg chg="del">
          <ac:chgData name="Ekaterina Veselkova" userId="5ed5cb5c-b82d-4261-a35d-9158526644a8" providerId="ADAL" clId="{D08B7266-89B6-4AB2-BA12-93B0FB9A82D4}" dt="2021-06-18T11:51:08.557" v="1326" actId="478"/>
          <ac:picMkLst>
            <pc:docMk/>
            <pc:sldMk cId="3780737834" sldId="578"/>
            <ac:picMk id="36" creationId="{81E02307-C144-4702-85DB-D8F7D2A1E376}"/>
          </ac:picMkLst>
        </pc:picChg>
        <pc:picChg chg="del mod">
          <ac:chgData name="Ekaterina Veselkova" userId="5ed5cb5c-b82d-4261-a35d-9158526644a8" providerId="ADAL" clId="{D08B7266-89B6-4AB2-BA12-93B0FB9A82D4}" dt="2021-06-18T11:53:56.107" v="1373" actId="478"/>
          <ac:picMkLst>
            <pc:docMk/>
            <pc:sldMk cId="3780737834" sldId="578"/>
            <ac:picMk id="37" creationId="{0A0A81B1-AED5-464F-964D-CA6A59DBD243}"/>
          </ac:picMkLst>
        </pc:picChg>
        <pc:picChg chg="del">
          <ac:chgData name="Ekaterina Veselkova" userId="5ed5cb5c-b82d-4261-a35d-9158526644a8" providerId="ADAL" clId="{D08B7266-89B6-4AB2-BA12-93B0FB9A82D4}" dt="2021-06-18T11:51:30.053" v="1357" actId="478"/>
          <ac:picMkLst>
            <pc:docMk/>
            <pc:sldMk cId="3780737834" sldId="578"/>
            <ac:picMk id="42" creationId="{05DFE238-77A4-43AD-A73A-F33403394A94}"/>
          </ac:picMkLst>
        </pc:picChg>
        <pc:picChg chg="mod">
          <ac:chgData name="Ekaterina Veselkova" userId="5ed5cb5c-b82d-4261-a35d-9158526644a8" providerId="ADAL" clId="{D08B7266-89B6-4AB2-BA12-93B0FB9A82D4}" dt="2021-06-18T11:51:35.145" v="1359" actId="1076"/>
          <ac:picMkLst>
            <pc:docMk/>
            <pc:sldMk cId="3780737834" sldId="578"/>
            <ac:picMk id="43" creationId="{00000000-0008-0000-0100-000009020000}"/>
          </ac:picMkLst>
        </pc:picChg>
        <pc:picChg chg="add del mod">
          <ac:chgData name="Ekaterina Veselkova" userId="5ed5cb5c-b82d-4261-a35d-9158526644a8" providerId="ADAL" clId="{D08B7266-89B6-4AB2-BA12-93B0FB9A82D4}" dt="2021-06-18T11:56:53.054" v="1382" actId="478"/>
          <ac:picMkLst>
            <pc:docMk/>
            <pc:sldMk cId="3780737834" sldId="578"/>
            <ac:picMk id="44" creationId="{5AE2A980-1A0C-F24E-A017-2E4B3CD14782}"/>
          </ac:picMkLst>
        </pc:picChg>
        <pc:picChg chg="add mod">
          <ac:chgData name="Ekaterina Veselkova" userId="5ed5cb5c-b82d-4261-a35d-9158526644a8" providerId="ADAL" clId="{D08B7266-89B6-4AB2-BA12-93B0FB9A82D4}" dt="2021-06-18T11:54:02.568" v="1376" actId="1076"/>
          <ac:picMkLst>
            <pc:docMk/>
            <pc:sldMk cId="3780737834" sldId="578"/>
            <ac:picMk id="45" creationId="{DFDCF4E5-7DBF-7A48-AE10-828B755BD5DA}"/>
          </ac:picMkLst>
        </pc:picChg>
        <pc:cxnChg chg="mod">
          <ac:chgData name="Ekaterina Veselkova" userId="5ed5cb5c-b82d-4261-a35d-9158526644a8" providerId="ADAL" clId="{D08B7266-89B6-4AB2-BA12-93B0FB9A82D4}" dt="2021-06-18T12:24:08.766" v="2861" actId="1076"/>
          <ac:cxnSpMkLst>
            <pc:docMk/>
            <pc:sldMk cId="3780737834" sldId="578"/>
            <ac:cxnSpMk id="17" creationId="{430CF30D-C345-42B7-9D26-3353960C5DEF}"/>
          </ac:cxnSpMkLst>
        </pc:cxnChg>
        <pc:cxnChg chg="mod">
          <ac:chgData name="Ekaterina Veselkova" userId="5ed5cb5c-b82d-4261-a35d-9158526644a8" providerId="ADAL" clId="{D08B7266-89B6-4AB2-BA12-93B0FB9A82D4}" dt="2021-06-22T18:28:07.103" v="3677" actId="1076"/>
          <ac:cxnSpMkLst>
            <pc:docMk/>
            <pc:sldMk cId="3780737834" sldId="578"/>
            <ac:cxnSpMk id="18" creationId="{74BDE8F1-3384-473E-BD7D-220A06BB48A8}"/>
          </ac:cxnSpMkLst>
        </pc:cxnChg>
        <pc:cxnChg chg="mod">
          <ac:chgData name="Ekaterina Veselkova" userId="5ed5cb5c-b82d-4261-a35d-9158526644a8" providerId="ADAL" clId="{D08B7266-89B6-4AB2-BA12-93B0FB9A82D4}" dt="2021-06-22T18:30:51.464" v="3683" actId="1076"/>
          <ac:cxnSpMkLst>
            <pc:docMk/>
            <pc:sldMk cId="3780737834" sldId="578"/>
            <ac:cxnSpMk id="19" creationId="{1F7D39E0-564E-49C4-9EE1-CB568F8BF5A1}"/>
          </ac:cxnSpMkLst>
        </pc:cxnChg>
      </pc:sldChg>
      <pc:sldChg chg="addSp delSp modSp add mod">
        <pc:chgData name="Ekaterina Veselkova" userId="5ed5cb5c-b82d-4261-a35d-9158526644a8" providerId="ADAL" clId="{D08B7266-89B6-4AB2-BA12-93B0FB9A82D4}" dt="2021-06-22T19:49:02.379" v="3731" actId="20577"/>
        <pc:sldMkLst>
          <pc:docMk/>
          <pc:sldMk cId="358122661" sldId="579"/>
        </pc:sldMkLst>
        <pc:spChg chg="add del mod">
          <ac:chgData name="Ekaterina Veselkova" userId="5ed5cb5c-b82d-4261-a35d-9158526644a8" providerId="ADAL" clId="{D08B7266-89B6-4AB2-BA12-93B0FB9A82D4}" dt="2021-06-18T10:58:46.431" v="608"/>
          <ac:spMkLst>
            <pc:docMk/>
            <pc:sldMk cId="358122661" sldId="579"/>
            <ac:spMk id="7" creationId="{14EFB54D-1BF1-4C81-8B44-458FCC37BF80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8" creationId="{05ADCDCB-F761-404F-B21B-38B7F7785BD7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1" creationId="{33A48B69-73D8-43B9-B3D8-B9683C8FD998}"/>
          </ac:spMkLst>
        </pc:spChg>
        <pc:spChg chg="del">
          <ac:chgData name="Ekaterina Veselkova" userId="5ed5cb5c-b82d-4261-a35d-9158526644a8" providerId="ADAL" clId="{D08B7266-89B6-4AB2-BA12-93B0FB9A82D4}" dt="2021-06-18T10:58:38.092" v="606" actId="478"/>
          <ac:spMkLst>
            <pc:docMk/>
            <pc:sldMk cId="358122661" sldId="579"/>
            <ac:spMk id="13" creationId="{A4FEDAE8-8A78-4057-B0E8-0B4F3C14CFB7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4" creationId="{6F189E0E-DEA3-4961-9336-980AACFCFB08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6" creationId="{D76A0627-8D1E-451D-95EB-5C23DA7C32FD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7" creationId="{6DB32C82-83F1-4AFE-BD29-89DC42C2984A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8" creationId="{9E2F1093-9A57-4B83-987A-E6ACB8D7B4B3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19" creationId="{563C4D00-E3C7-4956-B44C-00BFC5DCE905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20" creationId="{2024F92B-4EC6-4019-9964-4DE0188A1EAD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21" creationId="{101DC31A-7F71-4335-A4AE-024D8CF477A2}"/>
          </ac:spMkLst>
        </pc:spChg>
        <pc:spChg chg="add mod">
          <ac:chgData name="Ekaterina Veselkova" userId="5ed5cb5c-b82d-4261-a35d-9158526644a8" providerId="ADAL" clId="{D08B7266-89B6-4AB2-BA12-93B0FB9A82D4}" dt="2021-06-22T18:22:53.677" v="3630" actId="1076"/>
          <ac:spMkLst>
            <pc:docMk/>
            <pc:sldMk cId="358122661" sldId="579"/>
            <ac:spMk id="22" creationId="{9FE8BFCD-3F53-4368-99BF-FDB9AF94321F}"/>
          </ac:spMkLst>
        </pc:spChg>
        <pc:spChg chg="add mod">
          <ac:chgData name="Ekaterina Veselkova" userId="5ed5cb5c-b82d-4261-a35d-9158526644a8" providerId="ADAL" clId="{D08B7266-89B6-4AB2-BA12-93B0FB9A82D4}" dt="2021-06-22T19:48:36.405" v="3729" actId="20577"/>
          <ac:spMkLst>
            <pc:docMk/>
            <pc:sldMk cId="358122661" sldId="579"/>
            <ac:spMk id="23" creationId="{4F071AA1-6635-4DC9-A499-7BB17BC96414}"/>
          </ac:spMkLst>
        </pc:spChg>
        <pc:spChg chg="add mod">
          <ac:chgData name="Ekaterina Veselkova" userId="5ed5cb5c-b82d-4261-a35d-9158526644a8" providerId="ADAL" clId="{D08B7266-89B6-4AB2-BA12-93B0FB9A82D4}" dt="2021-06-22T19:49:02.379" v="3731" actId="20577"/>
          <ac:spMkLst>
            <pc:docMk/>
            <pc:sldMk cId="358122661" sldId="579"/>
            <ac:spMk id="24" creationId="{8C4B2428-6BA6-4CDF-8970-6C971EF5AF50}"/>
          </ac:spMkLst>
        </pc:spChg>
        <pc:spChg chg="add mod">
          <ac:chgData name="Ekaterina Veselkova" userId="5ed5cb5c-b82d-4261-a35d-9158526644a8" providerId="ADAL" clId="{D08B7266-89B6-4AB2-BA12-93B0FB9A82D4}" dt="2021-06-22T18:22:34.143" v="3627"/>
          <ac:spMkLst>
            <pc:docMk/>
            <pc:sldMk cId="358122661" sldId="579"/>
            <ac:spMk id="25" creationId="{69C6AA1E-1E56-49E1-AD5D-7575CD7D5FA2}"/>
          </ac:spMkLst>
        </pc:spChg>
        <pc:spChg chg="mod">
          <ac:chgData name="Ekaterina Veselkova" userId="5ed5cb5c-b82d-4261-a35d-9158526644a8" providerId="ADAL" clId="{D08B7266-89B6-4AB2-BA12-93B0FB9A82D4}" dt="2021-06-18T12:43:02.952" v="3612" actId="20577"/>
          <ac:spMkLst>
            <pc:docMk/>
            <pc:sldMk cId="358122661" sldId="579"/>
            <ac:spMk id="30" creationId="{2125D8B3-FC95-409F-B1E1-F1057A801912}"/>
          </ac:spMkLst>
        </pc:spChg>
        <pc:picChg chg="del">
          <ac:chgData name="Ekaterina Veselkova" userId="5ed5cb5c-b82d-4261-a35d-9158526644a8" providerId="ADAL" clId="{D08B7266-89B6-4AB2-BA12-93B0FB9A82D4}" dt="2021-06-18T10:58:32.648" v="605" actId="478"/>
          <ac:picMkLst>
            <pc:docMk/>
            <pc:sldMk cId="358122661" sldId="579"/>
            <ac:picMk id="4" creationId="{537BB24B-3223-4FAF-9D8C-5E93CCF45B26}"/>
          </ac:picMkLst>
        </pc:picChg>
        <pc:picChg chg="add mod">
          <ac:chgData name="Ekaterina Veselkova" userId="5ed5cb5c-b82d-4261-a35d-9158526644a8" providerId="ADAL" clId="{D08B7266-89B6-4AB2-BA12-93B0FB9A82D4}" dt="2021-06-22T18:22:53.677" v="3630" actId="1076"/>
          <ac:picMkLst>
            <pc:docMk/>
            <pc:sldMk cId="358122661" sldId="579"/>
            <ac:picMk id="9" creationId="{F217AB41-9A28-4DF9-9197-9554495551C0}"/>
          </ac:picMkLst>
        </pc:picChg>
        <pc:picChg chg="add mod">
          <ac:chgData name="Ekaterina Veselkova" userId="5ed5cb5c-b82d-4261-a35d-9158526644a8" providerId="ADAL" clId="{D08B7266-89B6-4AB2-BA12-93B0FB9A82D4}" dt="2021-06-22T18:22:53.677" v="3630" actId="1076"/>
          <ac:picMkLst>
            <pc:docMk/>
            <pc:sldMk cId="358122661" sldId="579"/>
            <ac:picMk id="10" creationId="{450FEB88-8087-4B3E-9C91-E62F639840BC}"/>
          </ac:picMkLst>
        </pc:picChg>
        <pc:picChg chg="add mod">
          <ac:chgData name="Ekaterina Veselkova" userId="5ed5cb5c-b82d-4261-a35d-9158526644a8" providerId="ADAL" clId="{D08B7266-89B6-4AB2-BA12-93B0FB9A82D4}" dt="2021-06-22T18:22:53.677" v="3630" actId="1076"/>
          <ac:picMkLst>
            <pc:docMk/>
            <pc:sldMk cId="358122661" sldId="579"/>
            <ac:picMk id="12" creationId="{E162EA98-B8B5-4898-BEA5-38843E3B32AE}"/>
          </ac:picMkLst>
        </pc:picChg>
        <pc:picChg chg="add mod">
          <ac:chgData name="Ekaterina Veselkova" userId="5ed5cb5c-b82d-4261-a35d-9158526644a8" providerId="ADAL" clId="{D08B7266-89B6-4AB2-BA12-93B0FB9A82D4}" dt="2021-06-22T18:22:53.677" v="3630" actId="1076"/>
          <ac:picMkLst>
            <pc:docMk/>
            <pc:sldMk cId="358122661" sldId="579"/>
            <ac:picMk id="15" creationId="{03C82345-07C6-4E7C-ACE5-CCC4CC1925FE}"/>
          </ac:picMkLst>
        </pc:picChg>
        <pc:picChg chg="add mod">
          <ac:chgData name="Ekaterina Veselkova" userId="5ed5cb5c-b82d-4261-a35d-9158526644a8" providerId="ADAL" clId="{D08B7266-89B6-4AB2-BA12-93B0FB9A82D4}" dt="2021-06-22T18:23:35.360" v="3639" actId="1076"/>
          <ac:picMkLst>
            <pc:docMk/>
            <pc:sldMk cId="358122661" sldId="579"/>
            <ac:picMk id="26" creationId="{4C4BBE31-3644-425E-BA79-898B736B6963}"/>
          </ac:picMkLst>
        </pc:picChg>
      </pc:sldChg>
      <pc:sldChg chg="delSp add del mod">
        <pc:chgData name="Ekaterina Veselkova" userId="5ed5cb5c-b82d-4261-a35d-9158526644a8" providerId="ADAL" clId="{D08B7266-89B6-4AB2-BA12-93B0FB9A82D4}" dt="2021-06-18T10:52:30.099" v="502" actId="47"/>
        <pc:sldMkLst>
          <pc:docMk/>
          <pc:sldMk cId="2941394515" sldId="579"/>
        </pc:sldMkLst>
        <pc:spChg chg="del">
          <ac:chgData name="Ekaterina Veselkova" userId="5ed5cb5c-b82d-4261-a35d-9158526644a8" providerId="ADAL" clId="{D08B7266-89B6-4AB2-BA12-93B0FB9A82D4}" dt="2021-06-18T10:52:27.236" v="501" actId="478"/>
          <ac:spMkLst>
            <pc:docMk/>
            <pc:sldMk cId="2941394515" sldId="579"/>
            <ac:spMk id="16" creationId="{02CEA9F1-B429-4B27-9CD4-E0C5FEFEC56A}"/>
          </ac:spMkLst>
        </pc:spChg>
        <pc:spChg chg="del">
          <ac:chgData name="Ekaterina Veselkova" userId="5ed5cb5c-b82d-4261-a35d-9158526644a8" providerId="ADAL" clId="{D08B7266-89B6-4AB2-BA12-93B0FB9A82D4}" dt="2021-06-18T10:52:25.450" v="500" actId="478"/>
          <ac:spMkLst>
            <pc:docMk/>
            <pc:sldMk cId="2941394515" sldId="579"/>
            <ac:spMk id="21" creationId="{C97FDAC9-730B-4031-8517-3E7E478B5359}"/>
          </ac:spMkLst>
        </pc:spChg>
      </pc:sldChg>
      <pc:sldChg chg="new del">
        <pc:chgData name="Ekaterina Veselkova" userId="5ed5cb5c-b82d-4261-a35d-9158526644a8" providerId="ADAL" clId="{D08B7266-89B6-4AB2-BA12-93B0FB9A82D4}" dt="2021-06-18T11:20:36.579" v="1238" actId="680"/>
        <pc:sldMkLst>
          <pc:docMk/>
          <pc:sldMk cId="1728629899" sldId="580"/>
        </pc:sldMkLst>
      </pc:sldChg>
      <pc:sldChg chg="addSp delSp modSp add del mod">
        <pc:chgData name="Ekaterina Veselkova" userId="5ed5cb5c-b82d-4261-a35d-9158526644a8" providerId="ADAL" clId="{D08B7266-89B6-4AB2-BA12-93B0FB9A82D4}" dt="2021-06-23T08:53:29.322" v="3732" actId="47"/>
        <pc:sldMkLst>
          <pc:docMk/>
          <pc:sldMk cId="2045316464" sldId="580"/>
        </pc:sldMkLst>
        <pc:spChg chg="del">
          <ac:chgData name="Ekaterina Veselkova" userId="5ed5cb5c-b82d-4261-a35d-9158526644a8" providerId="ADAL" clId="{D08B7266-89B6-4AB2-BA12-93B0FB9A82D4}" dt="2021-06-18T11:20:44.847" v="1240" actId="478"/>
          <ac:spMkLst>
            <pc:docMk/>
            <pc:sldMk cId="2045316464" sldId="580"/>
            <ac:spMk id="8" creationId="{05ADCDCB-F761-404F-B21B-38B7F7785BD7}"/>
          </ac:spMkLst>
        </pc:spChg>
        <pc:spChg chg="add mod">
          <ac:chgData name="Ekaterina Veselkova" userId="5ed5cb5c-b82d-4261-a35d-9158526644a8" providerId="ADAL" clId="{D08B7266-89B6-4AB2-BA12-93B0FB9A82D4}" dt="2021-06-22T18:24:02.216" v="3643"/>
          <ac:spMkLst>
            <pc:docMk/>
            <pc:sldMk cId="2045316464" sldId="580"/>
            <ac:spMk id="8" creationId="{FE35BC22-CD06-46C3-8F8D-009FEEFC889A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1" creationId="{33A48B69-73D8-43B9-B3D8-B9683C8FD998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4" creationId="{6F189E0E-DEA3-4961-9336-980AACFCFB08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6" creationId="{D76A0627-8D1E-451D-95EB-5C23DA7C32FD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7" creationId="{6DB32C82-83F1-4AFE-BD29-89DC42C2984A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8" creationId="{9E2F1093-9A57-4B83-987A-E6ACB8D7B4B3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19" creationId="{563C4D00-E3C7-4956-B44C-00BFC5DCE905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20" creationId="{2024F92B-4EC6-4019-9964-4DE0188A1EAD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21" creationId="{101DC31A-7F71-4335-A4AE-024D8CF477A2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22" creationId="{9FE8BFCD-3F53-4368-99BF-FDB9AF94321F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23" creationId="{4F071AA1-6635-4DC9-A499-7BB17BC96414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24" creationId="{8C4B2428-6BA6-4CDF-8970-6C971EF5AF50}"/>
          </ac:spMkLst>
        </pc:spChg>
        <pc:spChg chg="add mod">
          <ac:chgData name="Ekaterina Veselkova" userId="5ed5cb5c-b82d-4261-a35d-9158526644a8" providerId="ADAL" clId="{D08B7266-89B6-4AB2-BA12-93B0FB9A82D4}" dt="2021-06-18T11:21:06.515" v="1250" actId="1076"/>
          <ac:spMkLst>
            <pc:docMk/>
            <pc:sldMk cId="2045316464" sldId="580"/>
            <ac:spMk id="25" creationId="{B398BB43-531B-438F-958C-EF05D06EF4EB}"/>
          </ac:spMkLst>
        </pc:spChg>
        <pc:spChg chg="del">
          <ac:chgData name="Ekaterina Veselkova" userId="5ed5cb5c-b82d-4261-a35d-9158526644a8" providerId="ADAL" clId="{D08B7266-89B6-4AB2-BA12-93B0FB9A82D4}" dt="2021-06-18T11:20:50.163" v="1241" actId="478"/>
          <ac:spMkLst>
            <pc:docMk/>
            <pc:sldMk cId="2045316464" sldId="580"/>
            <ac:spMk id="30" creationId="{2125D8B3-FC95-409F-B1E1-F1057A801912}"/>
          </ac:spMkLst>
        </pc:spChg>
        <pc:picChg chg="add mod">
          <ac:chgData name="Ekaterina Veselkova" userId="5ed5cb5c-b82d-4261-a35d-9158526644a8" providerId="ADAL" clId="{D08B7266-89B6-4AB2-BA12-93B0FB9A82D4}" dt="2021-06-22T18:23:52.400" v="3642"/>
          <ac:picMkLst>
            <pc:docMk/>
            <pc:sldMk cId="2045316464" sldId="580"/>
            <ac:picMk id="7" creationId="{BE4BA861-DAA0-4C31-9913-978BA5ED031C}"/>
          </ac:picMkLst>
        </pc:picChg>
        <pc:picChg chg="del">
          <ac:chgData name="Ekaterina Veselkova" userId="5ed5cb5c-b82d-4261-a35d-9158526644a8" providerId="ADAL" clId="{D08B7266-89B6-4AB2-BA12-93B0FB9A82D4}" dt="2021-06-18T11:20:50.163" v="1241" actId="478"/>
          <ac:picMkLst>
            <pc:docMk/>
            <pc:sldMk cId="2045316464" sldId="580"/>
            <ac:picMk id="9" creationId="{F217AB41-9A28-4DF9-9197-9554495551C0}"/>
          </ac:picMkLst>
        </pc:picChg>
        <pc:picChg chg="del">
          <ac:chgData name="Ekaterina Veselkova" userId="5ed5cb5c-b82d-4261-a35d-9158526644a8" providerId="ADAL" clId="{D08B7266-89B6-4AB2-BA12-93B0FB9A82D4}" dt="2021-06-18T11:20:50.163" v="1241" actId="478"/>
          <ac:picMkLst>
            <pc:docMk/>
            <pc:sldMk cId="2045316464" sldId="580"/>
            <ac:picMk id="10" creationId="{450FEB88-8087-4B3E-9C91-E62F639840BC}"/>
          </ac:picMkLst>
        </pc:picChg>
        <pc:picChg chg="del">
          <ac:chgData name="Ekaterina Veselkova" userId="5ed5cb5c-b82d-4261-a35d-9158526644a8" providerId="ADAL" clId="{D08B7266-89B6-4AB2-BA12-93B0FB9A82D4}" dt="2021-06-18T11:20:50.163" v="1241" actId="478"/>
          <ac:picMkLst>
            <pc:docMk/>
            <pc:sldMk cId="2045316464" sldId="580"/>
            <ac:picMk id="12" creationId="{E162EA98-B8B5-4898-BEA5-38843E3B32AE}"/>
          </ac:picMkLst>
        </pc:picChg>
        <pc:picChg chg="del">
          <ac:chgData name="Ekaterina Veselkova" userId="5ed5cb5c-b82d-4261-a35d-9158526644a8" providerId="ADAL" clId="{D08B7266-89B6-4AB2-BA12-93B0FB9A82D4}" dt="2021-06-18T11:20:50.163" v="1241" actId="478"/>
          <ac:picMkLst>
            <pc:docMk/>
            <pc:sldMk cId="2045316464" sldId="580"/>
            <ac:picMk id="15" creationId="{03C82345-07C6-4E7C-ACE5-CCC4CC1925FE}"/>
          </ac:picMkLst>
        </pc:picChg>
      </pc:sldChg>
      <pc:sldMasterChg chg="delSldLayout">
        <pc:chgData name="Ekaterina Veselkova" userId="5ed5cb5c-b82d-4261-a35d-9158526644a8" providerId="ADAL" clId="{D08B7266-89B6-4AB2-BA12-93B0FB9A82D4}" dt="2021-06-22T18:19:43.422" v="3613" actId="47"/>
        <pc:sldMasterMkLst>
          <pc:docMk/>
          <pc:sldMasterMk cId="4049662272" sldId="2147483686"/>
        </pc:sldMasterMkLst>
        <pc:sldLayoutChg chg="del">
          <pc:chgData name="Ekaterina Veselkova" userId="5ed5cb5c-b82d-4261-a35d-9158526644a8" providerId="ADAL" clId="{D08B7266-89B6-4AB2-BA12-93B0FB9A82D4}" dt="2021-06-22T18:19:43.422" v="3613" actId="47"/>
          <pc:sldLayoutMkLst>
            <pc:docMk/>
            <pc:sldMasterMk cId="4049662272" sldId="2147483686"/>
            <pc:sldLayoutMk cId="2307263682" sldId="2147483718"/>
          </pc:sldLayoutMkLst>
        </pc:sldLayoutChg>
        <pc:sldLayoutChg chg="del">
          <pc:chgData name="Ekaterina Veselkova" userId="5ed5cb5c-b82d-4261-a35d-9158526644a8" providerId="ADAL" clId="{D08B7266-89B6-4AB2-BA12-93B0FB9A82D4}" dt="2021-06-18T10:48:18.484" v="485" actId="47"/>
          <pc:sldLayoutMkLst>
            <pc:docMk/>
            <pc:sldMasterMk cId="4049662272" sldId="2147483686"/>
            <pc:sldLayoutMk cId="2403950551" sldId="2147483719"/>
          </pc:sldLayoutMkLst>
        </pc:sldLayoutChg>
        <pc:sldLayoutChg chg="del">
          <pc:chgData name="Ekaterina Veselkova" userId="5ed5cb5c-b82d-4261-a35d-9158526644a8" providerId="ADAL" clId="{D08B7266-89B6-4AB2-BA12-93B0FB9A82D4}" dt="2021-06-18T10:48:19.686" v="486" actId="47"/>
          <pc:sldLayoutMkLst>
            <pc:docMk/>
            <pc:sldMasterMk cId="4049662272" sldId="2147483686"/>
            <pc:sldLayoutMk cId="3486791308" sldId="2147483720"/>
          </pc:sldLayoutMkLst>
        </pc:sldLayoutChg>
      </pc:sldMasterChg>
      <pc:sldMasterChg chg="del delSldLayout">
        <pc:chgData name="Ekaterina Veselkova" userId="5ed5cb5c-b82d-4261-a35d-9158526644a8" providerId="ADAL" clId="{D08B7266-89B6-4AB2-BA12-93B0FB9A82D4}" dt="2021-06-18T11:02:47.109" v="640" actId="47"/>
        <pc:sldMasterMkLst>
          <pc:docMk/>
          <pc:sldMasterMk cId="2091175114" sldId="2147483719"/>
        </pc:sldMasterMkLst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550151639" sldId="2147483720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4070845381" sldId="2147483721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896747134" sldId="2147483722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495053470" sldId="2147483723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393855498" sldId="2147483724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1317974277" sldId="2147483725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1856661425" sldId="2147483726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3673006029" sldId="2147483727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1017556657" sldId="2147483728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501604440" sldId="2147483729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1522155473" sldId="2147483730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3662286313" sldId="2147483731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4131236113" sldId="2147483732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14724395" sldId="2147483733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753623666" sldId="2147483734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632752146" sldId="2147483735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4291860458" sldId="2147483736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245143951" sldId="2147483737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824300944" sldId="2147483738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2608403889" sldId="2147483739"/>
          </pc:sldLayoutMkLst>
        </pc:sldLayoutChg>
        <pc:sldLayoutChg chg="del">
          <pc:chgData name="Ekaterina Veselkova" userId="5ed5cb5c-b82d-4261-a35d-9158526644a8" providerId="ADAL" clId="{D08B7266-89B6-4AB2-BA12-93B0FB9A82D4}" dt="2021-06-18T11:02:47.109" v="640" actId="47"/>
          <pc:sldLayoutMkLst>
            <pc:docMk/>
            <pc:sldMasterMk cId="2091175114" sldId="2147483719"/>
            <pc:sldLayoutMk cId="3471299946" sldId="2147483740"/>
          </pc:sldLayoutMkLst>
        </pc:sldLayoutChg>
      </pc:sldMasterChg>
    </pc:docChg>
  </pc:docChgLst>
  <pc:docChgLst>
    <pc:chgData name="Ekaterina Veselkova" userId="5ed5cb5c-b82d-4261-a35d-9158526644a8" providerId="ADAL" clId="{A8881072-A303-41E8-9B70-DFBB4CE55F14}"/>
    <pc:docChg chg="undo redo custSel addSld delSld modSld">
      <pc:chgData name="Ekaterina Veselkova" userId="5ed5cb5c-b82d-4261-a35d-9158526644a8" providerId="ADAL" clId="{A8881072-A303-41E8-9B70-DFBB4CE55F14}" dt="2021-12-09T05:14:39.839" v="3307" actId="114"/>
      <pc:docMkLst>
        <pc:docMk/>
      </pc:docMkLst>
      <pc:sldChg chg="addSp delSp modSp mod">
        <pc:chgData name="Ekaterina Veselkova" userId="5ed5cb5c-b82d-4261-a35d-9158526644a8" providerId="ADAL" clId="{A8881072-A303-41E8-9B70-DFBB4CE55F14}" dt="2021-12-08T20:16:58.054" v="3224" actId="478"/>
        <pc:sldMkLst>
          <pc:docMk/>
          <pc:sldMk cId="3361680876" sldId="291"/>
        </pc:sldMkLst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5" creationId="{D34416C7-08D6-4D24-9DD2-359CB66184D0}"/>
          </ac:spMkLst>
        </pc:spChg>
        <pc:spChg chg="add mod">
          <ac:chgData name="Ekaterina Veselkova" userId="5ed5cb5c-b82d-4261-a35d-9158526644a8" providerId="ADAL" clId="{A8881072-A303-41E8-9B70-DFBB4CE55F14}" dt="2021-12-08T20:14:28.883" v="3203" actId="1076"/>
          <ac:spMkLst>
            <pc:docMk/>
            <pc:sldMk cId="3361680876" sldId="291"/>
            <ac:spMk id="17" creationId="{8ED91BE6-CA4D-4CF7-908D-C266AB1B7C87}"/>
          </ac:spMkLst>
        </pc:spChg>
        <pc:spChg chg="add mod">
          <ac:chgData name="Ekaterina Veselkova" userId="5ed5cb5c-b82d-4261-a35d-9158526644a8" providerId="ADAL" clId="{A8881072-A303-41E8-9B70-DFBB4CE55F14}" dt="2021-12-08T20:14:25.018" v="3202" actId="1076"/>
          <ac:spMkLst>
            <pc:docMk/>
            <pc:sldMk cId="3361680876" sldId="291"/>
            <ac:spMk id="18" creationId="{5711A46E-8794-4CE2-8AD3-5D3FE33F2272}"/>
          </ac:spMkLst>
        </pc:spChg>
        <pc:spChg chg="add mod">
          <ac:chgData name="Ekaterina Veselkova" userId="5ed5cb5c-b82d-4261-a35d-9158526644a8" providerId="ADAL" clId="{A8881072-A303-41E8-9B70-DFBB4CE55F14}" dt="2021-12-08T20:13:02.819" v="3181" actId="1076"/>
          <ac:spMkLst>
            <pc:docMk/>
            <pc:sldMk cId="3361680876" sldId="291"/>
            <ac:spMk id="19" creationId="{04CA5A0F-A618-4057-BB3C-B3624FFB5E4C}"/>
          </ac:spMkLst>
        </pc:spChg>
        <pc:spChg chg="add mod">
          <ac:chgData name="Ekaterina Veselkova" userId="5ed5cb5c-b82d-4261-a35d-9158526644a8" providerId="ADAL" clId="{A8881072-A303-41E8-9B70-DFBB4CE55F14}" dt="2021-12-08T14:19:28.641" v="249" actId="5793"/>
          <ac:spMkLst>
            <pc:docMk/>
            <pc:sldMk cId="3361680876" sldId="291"/>
            <ac:spMk id="22" creationId="{569F99BC-E780-4137-B6EA-6C329483062A}"/>
          </ac:spMkLst>
        </pc:spChg>
        <pc:spChg chg="add mod">
          <ac:chgData name="Ekaterina Veselkova" userId="5ed5cb5c-b82d-4261-a35d-9158526644a8" providerId="ADAL" clId="{A8881072-A303-41E8-9B70-DFBB4CE55F14}" dt="2021-12-08T16:58:07.274" v="983" actId="1076"/>
          <ac:spMkLst>
            <pc:docMk/>
            <pc:sldMk cId="3361680876" sldId="291"/>
            <ac:spMk id="23" creationId="{1681F864-438A-4455-B077-067E3A7F644B}"/>
          </ac:spMkLst>
        </pc:spChg>
        <pc:spChg chg="add mod ord">
          <ac:chgData name="Ekaterina Veselkova" userId="5ed5cb5c-b82d-4261-a35d-9158526644a8" providerId="ADAL" clId="{A8881072-A303-41E8-9B70-DFBB4CE55F14}" dt="2021-12-08T14:58:53.586" v="514" actId="1076"/>
          <ac:spMkLst>
            <pc:docMk/>
            <pc:sldMk cId="3361680876" sldId="291"/>
            <ac:spMk id="24" creationId="{A2D3A845-0183-456C-9DDD-6E4305CAE331}"/>
          </ac:spMkLst>
        </pc:spChg>
        <pc:spChg chg="add mod ord">
          <ac:chgData name="Ekaterina Veselkova" userId="5ed5cb5c-b82d-4261-a35d-9158526644a8" providerId="ADAL" clId="{A8881072-A303-41E8-9B70-DFBB4CE55F14}" dt="2021-12-08T20:16:53.610" v="3223" actId="1076"/>
          <ac:spMkLst>
            <pc:docMk/>
            <pc:sldMk cId="3361680876" sldId="291"/>
            <ac:spMk id="38" creationId="{BFB9EA44-A325-4C7F-B86D-6E1B72FB2718}"/>
          </ac:spMkLst>
        </pc:spChg>
        <pc:spChg chg="add del mod">
          <ac:chgData name="Ekaterina Veselkova" userId="5ed5cb5c-b82d-4261-a35d-9158526644a8" providerId="ADAL" clId="{A8881072-A303-41E8-9B70-DFBB4CE55F14}" dt="2021-12-08T15:02:45.072" v="529" actId="1076"/>
          <ac:spMkLst>
            <pc:docMk/>
            <pc:sldMk cId="3361680876" sldId="291"/>
            <ac:spMk id="39" creationId="{36DD7645-847B-4B5A-89A1-71A837B6370D}"/>
          </ac:spMkLst>
        </pc:spChg>
        <pc:spChg chg="add mod">
          <ac:chgData name="Ekaterina Veselkova" userId="5ed5cb5c-b82d-4261-a35d-9158526644a8" providerId="ADAL" clId="{A8881072-A303-41E8-9B70-DFBB4CE55F14}" dt="2021-12-08T15:02:39.844" v="527" actId="14100"/>
          <ac:spMkLst>
            <pc:docMk/>
            <pc:sldMk cId="3361680876" sldId="291"/>
            <ac:spMk id="40" creationId="{C1FA893C-AE9E-4091-AC28-26EF5AFBA03B}"/>
          </ac:spMkLst>
        </pc:spChg>
        <pc:spChg chg="add del mod">
          <ac:chgData name="Ekaterina Veselkova" userId="5ed5cb5c-b82d-4261-a35d-9158526644a8" providerId="ADAL" clId="{A8881072-A303-41E8-9B70-DFBB4CE55F14}" dt="2021-12-08T14:51:24.637" v="363"/>
          <ac:spMkLst>
            <pc:docMk/>
            <pc:sldMk cId="3361680876" sldId="291"/>
            <ac:spMk id="41" creationId="{BF61AF20-E344-4439-9E44-821DDCA10F8C}"/>
          </ac:spMkLst>
        </pc:spChg>
        <pc:spChg chg="add mod">
          <ac:chgData name="Ekaterina Veselkova" userId="5ed5cb5c-b82d-4261-a35d-9158526644a8" providerId="ADAL" clId="{A8881072-A303-41E8-9B70-DFBB4CE55F14}" dt="2021-12-08T14:52:55.952" v="400" actId="20577"/>
          <ac:spMkLst>
            <pc:docMk/>
            <pc:sldMk cId="3361680876" sldId="291"/>
            <ac:spMk id="42" creationId="{21CB7DC2-5784-494A-AD58-F27B3EC33148}"/>
          </ac:spMkLst>
        </pc:spChg>
        <pc:spChg chg="add mod">
          <ac:chgData name="Ekaterina Veselkova" userId="5ed5cb5c-b82d-4261-a35d-9158526644a8" providerId="ADAL" clId="{A8881072-A303-41E8-9B70-DFBB4CE55F14}" dt="2021-12-08T14:52:32.479" v="382" actId="20577"/>
          <ac:spMkLst>
            <pc:docMk/>
            <pc:sldMk cId="3361680876" sldId="291"/>
            <ac:spMk id="43" creationId="{3670E437-4ABF-49ED-8A8D-43C6C425E3E5}"/>
          </ac:spMkLst>
        </pc:spChg>
        <pc:spChg chg="add del mod">
          <ac:chgData name="Ekaterina Veselkova" userId="5ed5cb5c-b82d-4261-a35d-9158526644a8" providerId="ADAL" clId="{A8881072-A303-41E8-9B70-DFBB4CE55F14}" dt="2021-12-08T14:55:36.437" v="455"/>
          <ac:spMkLst>
            <pc:docMk/>
            <pc:sldMk cId="3361680876" sldId="291"/>
            <ac:spMk id="47" creationId="{AC78E1AB-3F4B-4027-BAF0-F768F32E5365}"/>
          </ac:spMkLst>
        </pc:spChg>
        <pc:spChg chg="mod">
          <ac:chgData name="Ekaterina Veselkova" userId="5ed5cb5c-b82d-4261-a35d-9158526644a8" providerId="ADAL" clId="{A8881072-A303-41E8-9B70-DFBB4CE55F14}" dt="2021-12-08T14:56:25.092" v="464" actId="1076"/>
          <ac:spMkLst>
            <pc:docMk/>
            <pc:sldMk cId="3361680876" sldId="291"/>
            <ac:spMk id="49" creationId="{A64B6397-7826-4BDD-BB4C-5E72211C7284}"/>
          </ac:spMkLst>
        </pc:spChg>
        <pc:spChg chg="add mod">
          <ac:chgData name="Ekaterina Veselkova" userId="5ed5cb5c-b82d-4261-a35d-9158526644a8" providerId="ADAL" clId="{A8881072-A303-41E8-9B70-DFBB4CE55F14}" dt="2021-12-08T14:57:49.355" v="504" actId="20577"/>
          <ac:spMkLst>
            <pc:docMk/>
            <pc:sldMk cId="3361680876" sldId="291"/>
            <ac:spMk id="53" creationId="{4BCA3348-C2EA-41BA-B3D1-93142BDCA599}"/>
          </ac:spMkLst>
        </pc:spChg>
        <pc:spChg chg="add mod">
          <ac:chgData name="Ekaterina Veselkova" userId="5ed5cb5c-b82d-4261-a35d-9158526644a8" providerId="ADAL" clId="{A8881072-A303-41E8-9B70-DFBB4CE55F14}" dt="2021-12-08T14:58:58.751" v="515" actId="1076"/>
          <ac:spMkLst>
            <pc:docMk/>
            <pc:sldMk cId="3361680876" sldId="291"/>
            <ac:spMk id="54" creationId="{4F6F635D-3FD2-4A7C-9683-E27D3815C847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56" creationId="{98073BC4-5753-43F2-B6C7-8175CAD727EE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57" creationId="{EF236306-86E2-4ECD-BE7D-EE2ADB2090B8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58" creationId="{906EBC10-12EA-415D-8AA7-6AE375B3E136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59" creationId="{6624E144-6EC9-4DA2-BE50-16483A85B675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0" creationId="{C15AAB43-FAF6-4E08-8111-372884228679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1" creationId="{EE596A25-22A2-45F1-A9A8-7A12FE513D31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2" creationId="{D33E4B0B-FD57-4A89-BC0D-C769EBE43C0C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3" creationId="{B39A3DD6-8A6E-4BA5-B7A9-9FBA216FE45D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4" creationId="{CDC705AC-82ED-4B88-82D9-F1476B48209E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5" creationId="{A9194F81-857E-4ADA-A029-DB55CB02766E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6" creationId="{1DC8C2A4-C096-4C53-AFDB-A7A01C058893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7" creationId="{2D02B23D-E2B1-4DB4-94C1-4AEFCDE2EF98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8" creationId="{8CE74B1B-464F-4956-9F89-3BE204676526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69" creationId="{2AECECBF-8C85-4EDA-B760-66E79835765F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70" creationId="{8BA234D0-1A1A-4AD9-8E04-91C3A873B926}"/>
          </ac:spMkLst>
        </pc:spChg>
        <pc:spChg chg="del">
          <ac:chgData name="Ekaterina Veselkova" userId="5ed5cb5c-b82d-4261-a35d-9158526644a8" providerId="ADAL" clId="{A8881072-A303-41E8-9B70-DFBB4CE55F14}" dt="2021-12-08T13:57:17.802" v="164" actId="478"/>
          <ac:spMkLst>
            <pc:docMk/>
            <pc:sldMk cId="3361680876" sldId="291"/>
            <ac:spMk id="71" creationId="{6C450442-C28B-428D-BCD5-91EAFE9482F7}"/>
          </ac:spMkLst>
        </pc:spChg>
        <pc:spChg chg="mod">
          <ac:chgData name="Ekaterina Veselkova" userId="5ed5cb5c-b82d-4261-a35d-9158526644a8" providerId="ADAL" clId="{A8881072-A303-41E8-9B70-DFBB4CE55F14}" dt="2021-12-08T14:56:48.587" v="487" actId="20577"/>
          <ac:spMkLst>
            <pc:docMk/>
            <pc:sldMk cId="3361680876" sldId="291"/>
            <ac:spMk id="73" creationId="{F19C58CF-3514-4271-AB81-74CF9B946295}"/>
          </ac:spMkLst>
        </pc:spChg>
        <pc:picChg chg="add del mod">
          <ac:chgData name="Ekaterina Veselkova" userId="5ed5cb5c-b82d-4261-a35d-9158526644a8" providerId="ADAL" clId="{A8881072-A303-41E8-9B70-DFBB4CE55F14}" dt="2021-12-08T14:36:19.234" v="254" actId="478"/>
          <ac:picMkLst>
            <pc:docMk/>
            <pc:sldMk cId="3361680876" sldId="291"/>
            <ac:picMk id="3" creationId="{5D1D8E2D-F02E-4D7A-9006-094D3AADAF01}"/>
          </ac:picMkLst>
        </pc:picChg>
        <pc:picChg chg="add mod">
          <ac:chgData name="Ekaterina Veselkova" userId="5ed5cb5c-b82d-4261-a35d-9158526644a8" providerId="ADAL" clId="{A8881072-A303-41E8-9B70-DFBB4CE55F14}" dt="2021-12-08T20:12:33.860" v="3178" actId="1076"/>
          <ac:picMkLst>
            <pc:docMk/>
            <pc:sldMk cId="3361680876" sldId="291"/>
            <ac:picMk id="6" creationId="{DDC3F4A9-B95F-4FEE-9D8E-B962FE12F6A2}"/>
          </ac:picMkLst>
        </pc:picChg>
        <pc:picChg chg="add del mod">
          <ac:chgData name="Ekaterina Veselkova" userId="5ed5cb5c-b82d-4261-a35d-9158526644a8" providerId="ADAL" clId="{A8881072-A303-41E8-9B70-DFBB4CE55F14}" dt="2021-12-08T14:39:44.331" v="267" actId="478"/>
          <ac:picMkLst>
            <pc:docMk/>
            <pc:sldMk cId="3361680876" sldId="291"/>
            <ac:picMk id="7" creationId="{A1F0C459-25C0-4917-8576-3A990E845C2E}"/>
          </ac:picMkLst>
        </pc:picChg>
        <pc:picChg chg="add del mod">
          <ac:chgData name="Ekaterina Veselkova" userId="5ed5cb5c-b82d-4261-a35d-9158526644a8" providerId="ADAL" clId="{A8881072-A303-41E8-9B70-DFBB4CE55F14}" dt="2021-12-08T14:41:26.157" v="279" actId="478"/>
          <ac:picMkLst>
            <pc:docMk/>
            <pc:sldMk cId="3361680876" sldId="291"/>
            <ac:picMk id="8" creationId="{CF5AC52A-19A9-417A-9DBD-04DC008AFC4A}"/>
          </ac:picMkLst>
        </pc:picChg>
        <pc:picChg chg="add del mod">
          <ac:chgData name="Ekaterina Veselkova" userId="5ed5cb5c-b82d-4261-a35d-9158526644a8" providerId="ADAL" clId="{A8881072-A303-41E8-9B70-DFBB4CE55F14}" dt="2021-12-08T19:32:31.678" v="2963" actId="21"/>
          <ac:picMkLst>
            <pc:docMk/>
            <pc:sldMk cId="3361680876" sldId="291"/>
            <ac:picMk id="9" creationId="{BC9A0B1F-F9AC-4CD1-AA80-05251016CF23}"/>
          </ac:picMkLst>
        </pc:picChg>
        <pc:picChg chg="del mod">
          <ac:chgData name="Ekaterina Veselkova" userId="5ed5cb5c-b82d-4261-a35d-9158526644a8" providerId="ADAL" clId="{A8881072-A303-41E8-9B70-DFBB4CE55F14}" dt="2021-12-08T18:05:46.492" v="2078" actId="478"/>
          <ac:picMkLst>
            <pc:docMk/>
            <pc:sldMk cId="3361680876" sldId="291"/>
            <ac:picMk id="11" creationId="{00000000-0000-0000-0000-000000000000}"/>
          </ac:picMkLst>
        </pc:picChg>
        <pc:picChg chg="add mod">
          <ac:chgData name="Ekaterina Veselkova" userId="5ed5cb5c-b82d-4261-a35d-9158526644a8" providerId="ADAL" clId="{A8881072-A303-41E8-9B70-DFBB4CE55F14}" dt="2021-12-08T20:12:40.352" v="3180" actId="1076"/>
          <ac:picMkLst>
            <pc:docMk/>
            <pc:sldMk cId="3361680876" sldId="291"/>
            <ac:picMk id="12" creationId="{8AEED133-D8F3-47CE-A24B-254D3D7D02C1}"/>
          </ac:picMkLst>
        </pc:picChg>
        <pc:picChg chg="add mod">
          <ac:chgData name="Ekaterina Veselkova" userId="5ed5cb5c-b82d-4261-a35d-9158526644a8" providerId="ADAL" clId="{A8881072-A303-41E8-9B70-DFBB4CE55F14}" dt="2021-12-08T20:12:37.639" v="3179" actId="1076"/>
          <ac:picMkLst>
            <pc:docMk/>
            <pc:sldMk cId="3361680876" sldId="291"/>
            <ac:picMk id="14" creationId="{0A20042C-5EFC-4200-907D-D7A6EB28451C}"/>
          </ac:picMkLst>
        </pc:picChg>
        <pc:picChg chg="add mod">
          <ac:chgData name="Ekaterina Veselkova" userId="5ed5cb5c-b82d-4261-a35d-9158526644a8" providerId="ADAL" clId="{A8881072-A303-41E8-9B70-DFBB4CE55F14}" dt="2021-12-08T14:46:14.168" v="298" actId="208"/>
          <ac:picMkLst>
            <pc:docMk/>
            <pc:sldMk cId="3361680876" sldId="291"/>
            <ac:picMk id="16" creationId="{2BFEC7CF-E8B4-41CB-BA37-4BA215507587}"/>
          </ac:picMkLst>
        </pc:picChg>
        <pc:picChg chg="add mod">
          <ac:chgData name="Ekaterina Veselkova" userId="5ed5cb5c-b82d-4261-a35d-9158526644a8" providerId="ADAL" clId="{A8881072-A303-41E8-9B70-DFBB4CE55F14}" dt="2021-12-08T20:12:30.847" v="3177" actId="1076"/>
          <ac:picMkLst>
            <pc:docMk/>
            <pc:sldMk cId="3361680876" sldId="291"/>
            <ac:picMk id="25" creationId="{65A259DB-6A56-4608-B6A6-5B47A889748B}"/>
          </ac:picMkLst>
        </pc:picChg>
        <pc:picChg chg="add del mod">
          <ac:chgData name="Ekaterina Veselkova" userId="5ed5cb5c-b82d-4261-a35d-9158526644a8" providerId="ADAL" clId="{A8881072-A303-41E8-9B70-DFBB4CE55F14}" dt="2021-12-08T20:16:58.054" v="3224" actId="478"/>
          <ac:picMkLst>
            <pc:docMk/>
            <pc:sldMk cId="3361680876" sldId="291"/>
            <ac:picMk id="26" creationId="{4D8C2594-EB6C-4381-9FB6-1A5080AC48D3}"/>
          </ac:picMkLst>
        </pc:picChg>
        <pc:picChg chg="add mod">
          <ac:chgData name="Ekaterina Veselkova" userId="5ed5cb5c-b82d-4261-a35d-9158526644a8" providerId="ADAL" clId="{A8881072-A303-41E8-9B70-DFBB4CE55F14}" dt="2021-12-08T18:05:44.324" v="2077" actId="1076"/>
          <ac:picMkLst>
            <pc:docMk/>
            <pc:sldMk cId="3361680876" sldId="291"/>
            <ac:picMk id="27" creationId="{E265BAEA-1329-48FB-B6F6-D55644AA7F2A}"/>
          </ac:picMkLst>
        </pc:picChg>
        <pc:picChg chg="add mod ord">
          <ac:chgData name="Ekaterina Veselkova" userId="5ed5cb5c-b82d-4261-a35d-9158526644a8" providerId="ADAL" clId="{A8881072-A303-41E8-9B70-DFBB4CE55F14}" dt="2021-12-08T20:16:49.943" v="3222" actId="14100"/>
          <ac:picMkLst>
            <pc:docMk/>
            <pc:sldMk cId="3361680876" sldId="291"/>
            <ac:picMk id="29" creationId="{FDA003E5-F5E0-4D0F-B842-2A2E3D4461CE}"/>
          </ac:picMkLst>
        </pc:picChg>
        <pc:picChg chg="add mod">
          <ac:chgData name="Ekaterina Veselkova" userId="5ed5cb5c-b82d-4261-a35d-9158526644a8" providerId="ADAL" clId="{A8881072-A303-41E8-9B70-DFBB4CE55F14}" dt="2021-12-08T20:13:11.457" v="3185" actId="1076"/>
          <ac:picMkLst>
            <pc:docMk/>
            <pc:sldMk cId="3361680876" sldId="291"/>
            <ac:picMk id="72" creationId="{FE696C69-6144-4C75-9B5A-F4D6A013E048}"/>
          </ac:picMkLst>
        </pc:picChg>
        <pc:cxnChg chg="add mod">
          <ac:chgData name="Ekaterina Veselkova" userId="5ed5cb5c-b82d-4261-a35d-9158526644a8" providerId="ADAL" clId="{A8881072-A303-41E8-9B70-DFBB4CE55F14}" dt="2021-12-08T20:14:22.865" v="3201" actId="1076"/>
          <ac:cxnSpMkLst>
            <pc:docMk/>
            <pc:sldMk cId="3361680876" sldId="291"/>
            <ac:cxnSpMk id="21" creationId="{916EDF0B-8385-4909-A0CB-F43424E767DC}"/>
          </ac:cxnSpMkLst>
        </pc:cxnChg>
        <pc:cxnChg chg="add mod">
          <ac:chgData name="Ekaterina Veselkova" userId="5ed5cb5c-b82d-4261-a35d-9158526644a8" providerId="ADAL" clId="{A8881072-A303-41E8-9B70-DFBB4CE55F14}" dt="2021-12-08T20:15:11.670" v="3213" actId="1076"/>
          <ac:cxnSpMkLst>
            <pc:docMk/>
            <pc:sldMk cId="3361680876" sldId="291"/>
            <ac:cxnSpMk id="48" creationId="{F0B5BBB2-C0C5-439A-AE8F-32DC19C54B1D}"/>
          </ac:cxnSpMkLst>
        </pc:cxnChg>
        <pc:cxnChg chg="add mod">
          <ac:chgData name="Ekaterina Veselkova" userId="5ed5cb5c-b82d-4261-a35d-9158526644a8" providerId="ADAL" clId="{A8881072-A303-41E8-9B70-DFBB4CE55F14}" dt="2021-12-08T14:55:55.966" v="459" actId="1076"/>
          <ac:cxnSpMkLst>
            <pc:docMk/>
            <pc:sldMk cId="3361680876" sldId="291"/>
            <ac:cxnSpMk id="50" creationId="{B6149863-BFA5-4983-8F85-6D2A9CA7B82F}"/>
          </ac:cxnSpMkLst>
        </pc:cxnChg>
        <pc:cxnChg chg="add mod">
          <ac:chgData name="Ekaterina Veselkova" userId="5ed5cb5c-b82d-4261-a35d-9158526644a8" providerId="ADAL" clId="{A8881072-A303-41E8-9B70-DFBB4CE55F14}" dt="2021-12-08T14:56:06.613" v="461" actId="1076"/>
          <ac:cxnSpMkLst>
            <pc:docMk/>
            <pc:sldMk cId="3361680876" sldId="291"/>
            <ac:cxnSpMk id="51" creationId="{32711A36-27A6-4816-BF43-088BA0020AD7}"/>
          </ac:cxnSpMkLst>
        </pc:cxnChg>
        <pc:cxnChg chg="add mod">
          <ac:chgData name="Ekaterina Veselkova" userId="5ed5cb5c-b82d-4261-a35d-9158526644a8" providerId="ADAL" clId="{A8881072-A303-41E8-9B70-DFBB4CE55F14}" dt="2021-12-08T14:56:14.407" v="463" actId="1076"/>
          <ac:cxnSpMkLst>
            <pc:docMk/>
            <pc:sldMk cId="3361680876" sldId="291"/>
            <ac:cxnSpMk id="52" creationId="{5FA6FB51-9F9B-4473-84C6-5BAE2498BA01}"/>
          </ac:cxnSpMkLst>
        </pc:cxnChg>
      </pc:sldChg>
      <pc:sldChg chg="modSp mod">
        <pc:chgData name="Ekaterina Veselkova" userId="5ed5cb5c-b82d-4261-a35d-9158526644a8" providerId="ADAL" clId="{A8881072-A303-41E8-9B70-DFBB4CE55F14}" dt="2021-12-08T13:55:24.456" v="37" actId="1076"/>
        <pc:sldMkLst>
          <pc:docMk/>
          <pc:sldMk cId="1396317339" sldId="304"/>
        </pc:sldMkLst>
        <pc:spChg chg="mod">
          <ac:chgData name="Ekaterina Veselkova" userId="5ed5cb5c-b82d-4261-a35d-9158526644a8" providerId="ADAL" clId="{A8881072-A303-41E8-9B70-DFBB4CE55F14}" dt="2021-12-08T13:55:24.456" v="37" actId="1076"/>
          <ac:spMkLst>
            <pc:docMk/>
            <pc:sldMk cId="1396317339" sldId="304"/>
            <ac:spMk id="15" creationId="{3672572C-2131-4986-B343-6702207EDACD}"/>
          </ac:spMkLst>
        </pc:spChg>
        <pc:spChg chg="mod">
          <ac:chgData name="Ekaterina Veselkova" userId="5ed5cb5c-b82d-4261-a35d-9158526644a8" providerId="ADAL" clId="{A8881072-A303-41E8-9B70-DFBB4CE55F14}" dt="2021-12-08T13:55:20.732" v="36" actId="1076"/>
          <ac:spMkLst>
            <pc:docMk/>
            <pc:sldMk cId="1396317339" sldId="304"/>
            <ac:spMk id="18" creationId="{B3519AA9-9EDC-4A35-90F9-C6C951C85B20}"/>
          </ac:spMkLst>
        </pc:spChg>
      </pc:sldChg>
      <pc:sldChg chg="del">
        <pc:chgData name="Ekaterina Veselkova" userId="5ed5cb5c-b82d-4261-a35d-9158526644a8" providerId="ADAL" clId="{A8881072-A303-41E8-9B70-DFBB4CE55F14}" dt="2021-12-08T13:55:54.577" v="39" actId="47"/>
        <pc:sldMkLst>
          <pc:docMk/>
          <pc:sldMk cId="4076224107" sldId="317"/>
        </pc:sldMkLst>
      </pc:sldChg>
      <pc:sldChg chg="addSp delSp modSp add mod modNotesTx">
        <pc:chgData name="Ekaterina Veselkova" userId="5ed5cb5c-b82d-4261-a35d-9158526644a8" providerId="ADAL" clId="{A8881072-A303-41E8-9B70-DFBB4CE55F14}" dt="2021-12-09T05:14:39.839" v="3307" actId="114"/>
        <pc:sldMkLst>
          <pc:docMk/>
          <pc:sldMk cId="3270251873" sldId="357"/>
        </pc:sldMkLst>
        <pc:spChg chg="add del mod">
          <ac:chgData name="Ekaterina Veselkova" userId="5ed5cb5c-b82d-4261-a35d-9158526644a8" providerId="ADAL" clId="{A8881072-A303-41E8-9B70-DFBB4CE55F14}" dt="2021-12-08T19:21:40.041" v="2687" actId="21"/>
          <ac:spMkLst>
            <pc:docMk/>
            <pc:sldMk cId="3270251873" sldId="357"/>
            <ac:spMk id="9" creationId="{4E565620-F7FB-4914-AFD4-28F188C0C4A0}"/>
          </ac:spMkLst>
        </pc:spChg>
        <pc:spChg chg="del mod">
          <ac:chgData name="Ekaterina Veselkova" userId="5ed5cb5c-b82d-4261-a35d-9158526644a8" providerId="ADAL" clId="{A8881072-A303-41E8-9B70-DFBB4CE55F14}" dt="2021-12-08T19:24:49.468" v="2858" actId="478"/>
          <ac:spMkLst>
            <pc:docMk/>
            <pc:sldMk cId="3270251873" sldId="357"/>
            <ac:spMk id="19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19:15.857" v="2678" actId="255"/>
          <ac:spMkLst>
            <pc:docMk/>
            <pc:sldMk cId="3270251873" sldId="357"/>
            <ac:spMk id="25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9T05:14:37.297" v="3306" actId="114"/>
          <ac:spMkLst>
            <pc:docMk/>
            <pc:sldMk cId="3270251873" sldId="357"/>
            <ac:spMk id="27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11:09.233" v="2370" actId="1076"/>
          <ac:spMkLst>
            <pc:docMk/>
            <pc:sldMk cId="3270251873" sldId="357"/>
            <ac:spMk id="28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9T05:14:39.839" v="3307" actId="114"/>
          <ac:spMkLst>
            <pc:docMk/>
            <pc:sldMk cId="3270251873" sldId="357"/>
            <ac:spMk id="29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11:29.990" v="2375" actId="1076"/>
          <ac:spMkLst>
            <pc:docMk/>
            <pc:sldMk cId="3270251873" sldId="357"/>
            <ac:spMk id="30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23:57.940" v="2844" actId="1076"/>
          <ac:spMkLst>
            <pc:docMk/>
            <pc:sldMk cId="3270251873" sldId="357"/>
            <ac:spMk id="33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36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37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38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39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40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41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10:36.896" v="2361" actId="478"/>
          <ac:spMkLst>
            <pc:docMk/>
            <pc:sldMk cId="3270251873" sldId="357"/>
            <ac:spMk id="42" creationId="{00000000-0000-0000-0000-000000000000}"/>
          </ac:spMkLst>
        </pc:spChg>
        <pc:spChg chg="del mod">
          <ac:chgData name="Ekaterina Veselkova" userId="5ed5cb5c-b82d-4261-a35d-9158526644a8" providerId="ADAL" clId="{A8881072-A303-41E8-9B70-DFBB4CE55F14}" dt="2021-12-08T19:24:10.205" v="2849" actId="478"/>
          <ac:spMkLst>
            <pc:docMk/>
            <pc:sldMk cId="3270251873" sldId="357"/>
            <ac:spMk id="45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20:42.838" v="2686" actId="20577"/>
          <ac:spMkLst>
            <pc:docMk/>
            <pc:sldMk cId="3270251873" sldId="357"/>
            <ac:spMk id="46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9T05:14:35.424" v="3305" actId="114"/>
          <ac:spMkLst>
            <pc:docMk/>
            <pc:sldMk cId="3270251873" sldId="357"/>
            <ac:spMk id="49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19:23.171" v="2679" actId="1076"/>
          <ac:spMkLst>
            <pc:docMk/>
            <pc:sldMk cId="3270251873" sldId="357"/>
            <ac:spMk id="50" creationId="{00000000-0000-0000-0000-000000000000}"/>
          </ac:spMkLst>
        </pc:spChg>
        <pc:spChg chg="del mod">
          <ac:chgData name="Ekaterina Veselkova" userId="5ed5cb5c-b82d-4261-a35d-9158526644a8" providerId="ADAL" clId="{A8881072-A303-41E8-9B70-DFBB4CE55F14}" dt="2021-12-08T19:25:06.881" v="2865" actId="478"/>
          <ac:spMkLst>
            <pc:docMk/>
            <pc:sldMk cId="3270251873" sldId="357"/>
            <ac:spMk id="51" creationId="{00000000-0000-0000-0000-000000000000}"/>
          </ac:spMkLst>
        </pc:spChg>
        <pc:spChg chg="add del mod">
          <ac:chgData name="Ekaterina Veselkova" userId="5ed5cb5c-b82d-4261-a35d-9158526644a8" providerId="ADAL" clId="{A8881072-A303-41E8-9B70-DFBB4CE55F14}" dt="2021-12-08T19:22:15.635" v="2822" actId="478"/>
          <ac:spMkLst>
            <pc:docMk/>
            <pc:sldMk cId="3270251873" sldId="357"/>
            <ac:spMk id="53" creationId="{B0F42DB5-2806-4DD8-8BFE-4B72D25022F3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54" creationId="{F02132B9-6538-4F1F-8399-87021B8E6EB8}"/>
          </ac:spMkLst>
        </pc:spChg>
        <pc:spChg chg="mod">
          <ac:chgData name="Ekaterina Veselkova" userId="5ed5cb5c-b82d-4261-a35d-9158526644a8" providerId="ADAL" clId="{A8881072-A303-41E8-9B70-DFBB4CE55F14}" dt="2021-12-08T19:22:26.413" v="2823"/>
          <ac:spMkLst>
            <pc:docMk/>
            <pc:sldMk cId="3270251873" sldId="357"/>
            <ac:spMk id="56" creationId="{EE6CBDF4-63D6-4847-86FA-B6E2F0C5E161}"/>
          </ac:spMkLst>
        </pc:spChg>
        <pc:spChg chg="mod">
          <ac:chgData name="Ekaterina Veselkova" userId="5ed5cb5c-b82d-4261-a35d-9158526644a8" providerId="ADAL" clId="{A8881072-A303-41E8-9B70-DFBB4CE55F14}" dt="2021-12-08T19:22:26.413" v="2823"/>
          <ac:spMkLst>
            <pc:docMk/>
            <pc:sldMk cId="3270251873" sldId="357"/>
            <ac:spMk id="57" creationId="{8CDDF395-B60C-4FA1-A522-42EECB311467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4" creationId="{2F36703F-3526-4BFC-A358-E52741EA2791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5" creationId="{F63E2C78-E797-430A-B5C9-F26561A75893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6" creationId="{F5E87BBA-3A77-4B28-9AB4-1FC1C15E983E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7" creationId="{15AC181E-C2AA-47AF-B070-35D3A50159AD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8" creationId="{4B151FEE-2E71-4385-B199-2B3C1D453960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69" creationId="{9D3CEFDD-84C2-425C-A0EC-910AF9FAB7BF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0" creationId="{9BB01FE1-E95F-4625-A1A2-A7FFC7D340B1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1" creationId="{CF797B78-76ED-4415-AFA4-E565F01F9541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2" creationId="{807B838F-149D-4EAC-AF50-C8BC7787B460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3" creationId="{2FB83EBD-CC73-451A-927D-8B48844161E0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4" creationId="{BE9B940E-38A2-4E76-9BBE-A03DEB44B9CF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5" creationId="{1D80C621-6500-410E-9F8B-1DADEDD66ECA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6" creationId="{605E5B7E-056C-4FCF-A742-20F4382ED8EB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7" creationId="{7BB7F76A-AC49-4DDC-AA64-00AE7E076A0B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78" creationId="{AD8FAAA8-8DDE-4ADB-A9D9-34866FB87EF9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80" creationId="{306207D4-E7B3-4DEE-9112-CEE7700929DC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81" creationId="{5B8A968F-0E80-46F1-8247-CA7C280E5029}"/>
          </ac:spMkLst>
        </pc:spChg>
        <pc:spChg chg="add del mod">
          <ac:chgData name="Ekaterina Veselkova" userId="5ed5cb5c-b82d-4261-a35d-9158526644a8" providerId="ADAL" clId="{A8881072-A303-41E8-9B70-DFBB4CE55F14}" dt="2021-12-08T19:22:29.754" v="2824"/>
          <ac:spMkLst>
            <pc:docMk/>
            <pc:sldMk cId="3270251873" sldId="357"/>
            <ac:spMk id="82" creationId="{E383BB88-A172-4B7F-838F-486C65B6A8B8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83" creationId="{C20DC9F8-4476-4544-90B7-F172F569CF63}"/>
          </ac:spMkLst>
        </pc:spChg>
        <pc:spChg chg="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85" creationId="{9026EDA2-0A58-46C9-8C23-1E400AFBA3BF}"/>
          </ac:spMkLst>
        </pc:spChg>
        <pc:spChg chg="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86" creationId="{074C49DE-D117-43ED-B5CA-1EC802E4E60F}"/>
          </ac:spMkLst>
        </pc:spChg>
        <pc:spChg chg="add mod">
          <ac:chgData name="Ekaterina Veselkova" userId="5ed5cb5c-b82d-4261-a35d-9158526644a8" providerId="ADAL" clId="{A8881072-A303-41E8-9B70-DFBB4CE55F14}" dt="2021-12-08T19:26:33.571" v="2903" actId="14100"/>
          <ac:spMkLst>
            <pc:docMk/>
            <pc:sldMk cId="3270251873" sldId="357"/>
            <ac:spMk id="93" creationId="{59BC95BA-5CEE-4092-BEBF-704F9FBFF96E}"/>
          </ac:spMkLst>
        </pc:spChg>
        <pc:spChg chg="add mod">
          <ac:chgData name="Ekaterina Veselkova" userId="5ed5cb5c-b82d-4261-a35d-9158526644a8" providerId="ADAL" clId="{A8881072-A303-41E8-9B70-DFBB4CE55F14}" dt="2021-12-08T19:30:39.100" v="2907" actId="20577"/>
          <ac:spMkLst>
            <pc:docMk/>
            <pc:sldMk cId="3270251873" sldId="357"/>
            <ac:spMk id="94" creationId="{3BFD0E0A-E57F-4A50-95C3-87E0ACAE3530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95" creationId="{A4DF3262-BE1D-417D-AEC2-A9D50A549657}"/>
          </ac:spMkLst>
        </pc:spChg>
        <pc:spChg chg="add mod">
          <ac:chgData name="Ekaterina Veselkova" userId="5ed5cb5c-b82d-4261-a35d-9158526644a8" providerId="ADAL" clId="{A8881072-A303-41E8-9B70-DFBB4CE55F14}" dt="2021-12-08T19:32:12.804" v="2962" actId="20577"/>
          <ac:spMkLst>
            <pc:docMk/>
            <pc:sldMk cId="3270251873" sldId="357"/>
            <ac:spMk id="96" creationId="{55E9D29B-5495-456E-AEEA-E70E2204660D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97" creationId="{60AF993D-22F5-433D-B626-0A1B029A0213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98" creationId="{6F1490FE-E947-48D1-8C49-6349D79B1E6B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99" creationId="{0DC960E5-97BE-44B3-9437-774AF5B21F9A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0" creationId="{929F227F-F263-4EE1-98C8-D0C4998F8847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1" creationId="{B5C3C6B4-60EB-4FFB-8B6C-9C9C455ED074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2" creationId="{B72FA2A8-F15B-4506-8BF0-1AFC00E783D1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3" creationId="{AC253220-1AEC-4C4E-B332-E1F2F3913D1F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4" creationId="{C239B1C5-09FD-4362-8F46-DDD57A362C02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5" creationId="{423DA6C8-DCBB-4AA1-873E-FB0D5BCBB989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6" creationId="{F27E1166-3971-4420-A648-99208EA07C83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7" creationId="{3BE37F59-253B-4BE3-8761-5D8F469922D8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09" creationId="{AFD50ACD-06A6-4144-8D1F-A1AE446FBD66}"/>
          </ac:spMkLst>
        </pc:spChg>
        <pc:spChg chg="add mod">
          <ac:chgData name="Ekaterina Veselkova" userId="5ed5cb5c-b82d-4261-a35d-9158526644a8" providerId="ADAL" clId="{A8881072-A303-41E8-9B70-DFBB4CE55F14}" dt="2021-12-08T19:22:51.465" v="2827" actId="1076"/>
          <ac:spMkLst>
            <pc:docMk/>
            <pc:sldMk cId="3270251873" sldId="357"/>
            <ac:spMk id="110" creationId="{83A9FCC0-5107-4C05-B1C6-F3FA8B80D041}"/>
          </ac:spMkLst>
        </pc:spChg>
        <pc:spChg chg="add mod">
          <ac:chgData name="Ekaterina Veselkova" userId="5ed5cb5c-b82d-4261-a35d-9158526644a8" providerId="ADAL" clId="{A8881072-A303-41E8-9B70-DFBB4CE55F14}" dt="2021-12-08T19:31:09.257" v="2919" actId="20577"/>
          <ac:spMkLst>
            <pc:docMk/>
            <pc:sldMk cId="3270251873" sldId="357"/>
            <ac:spMk id="111" creationId="{6D150B15-4BE4-4AD4-AE0C-E70F48430CE5}"/>
          </ac:spMkLst>
        </pc:spChg>
        <pc:spChg chg="add mod">
          <ac:chgData name="Ekaterina Veselkova" userId="5ed5cb5c-b82d-4261-a35d-9158526644a8" providerId="ADAL" clId="{A8881072-A303-41E8-9B70-DFBB4CE55F14}" dt="2021-12-08T19:24:20.754" v="2851" actId="1076"/>
          <ac:spMkLst>
            <pc:docMk/>
            <pc:sldMk cId="3270251873" sldId="357"/>
            <ac:spMk id="112" creationId="{D0D69887-77C5-45DA-A709-ADA789227C01}"/>
          </ac:spMkLst>
        </pc:spChg>
        <pc:spChg chg="add mod">
          <ac:chgData name="Ekaterina Veselkova" userId="5ed5cb5c-b82d-4261-a35d-9158526644a8" providerId="ADAL" clId="{A8881072-A303-41E8-9B70-DFBB4CE55F14}" dt="2021-12-08T19:24:58.032" v="2860" actId="1076"/>
          <ac:spMkLst>
            <pc:docMk/>
            <pc:sldMk cId="3270251873" sldId="357"/>
            <ac:spMk id="113" creationId="{E97CD415-EF1C-465A-A137-0C3AD12C4D71}"/>
          </ac:spMkLst>
        </pc:spChg>
        <pc:spChg chg="add mod">
          <ac:chgData name="Ekaterina Veselkova" userId="5ed5cb5c-b82d-4261-a35d-9158526644a8" providerId="ADAL" clId="{A8881072-A303-41E8-9B70-DFBB4CE55F14}" dt="2021-12-08T19:25:28.350" v="2872" actId="1076"/>
          <ac:spMkLst>
            <pc:docMk/>
            <pc:sldMk cId="3270251873" sldId="357"/>
            <ac:spMk id="114" creationId="{30DAC23A-E495-4A22-BB29-D7BC41934B5F}"/>
          </ac:spMkLst>
        </pc:spChg>
        <pc:grpChg chg="add del mod">
          <ac:chgData name="Ekaterina Veselkova" userId="5ed5cb5c-b82d-4261-a35d-9158526644a8" providerId="ADAL" clId="{A8881072-A303-41E8-9B70-DFBB4CE55F14}" dt="2021-12-08T19:22:29.754" v="2824"/>
          <ac:grpSpMkLst>
            <pc:docMk/>
            <pc:sldMk cId="3270251873" sldId="357"/>
            <ac:grpSpMk id="55" creationId="{A8C8EFF0-5D2F-43D4-80A5-43E86B23AB8C}"/>
          </ac:grpSpMkLst>
        </pc:grpChg>
        <pc:grpChg chg="add mod">
          <ac:chgData name="Ekaterina Veselkova" userId="5ed5cb5c-b82d-4261-a35d-9158526644a8" providerId="ADAL" clId="{A8881072-A303-41E8-9B70-DFBB4CE55F14}" dt="2021-12-08T19:22:51.465" v="2827" actId="1076"/>
          <ac:grpSpMkLst>
            <pc:docMk/>
            <pc:sldMk cId="3270251873" sldId="357"/>
            <ac:grpSpMk id="84" creationId="{D6F46E3C-5846-4BA0-8501-5666CE6107E4}"/>
          </ac:grpSpMkLst>
        </pc:grpChg>
        <pc:picChg chg="mod">
          <ac:chgData name="Ekaterina Veselkova" userId="5ed5cb5c-b82d-4261-a35d-9158526644a8" providerId="ADAL" clId="{A8881072-A303-41E8-9B70-DFBB4CE55F14}" dt="2021-12-08T19:24:47.150" v="2857" actId="1076"/>
          <ac:picMkLst>
            <pc:docMk/>
            <pc:sldMk cId="3270251873" sldId="357"/>
            <ac:picMk id="16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4:59.863" v="2861" actId="1076"/>
          <ac:picMkLst>
            <pc:docMk/>
            <pc:sldMk cId="3270251873" sldId="357"/>
            <ac:picMk id="17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3:53.807" v="2842" actId="1076"/>
          <ac:picMkLst>
            <pc:docMk/>
            <pc:sldMk cId="3270251873" sldId="357"/>
            <ac:picMk id="31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4:00.162" v="2845" actId="1076"/>
          <ac:picMkLst>
            <pc:docMk/>
            <pc:sldMk cId="3270251873" sldId="357"/>
            <ac:picMk id="32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10:38.170" v="2362" actId="478"/>
          <ac:picMkLst>
            <pc:docMk/>
            <pc:sldMk cId="3270251873" sldId="357"/>
            <ac:picMk id="34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10:36.896" v="2361" actId="478"/>
          <ac:picMkLst>
            <pc:docMk/>
            <pc:sldMk cId="3270251873" sldId="357"/>
            <ac:picMk id="35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4:38.246" v="2855" actId="14100"/>
          <ac:picMkLst>
            <pc:docMk/>
            <pc:sldMk cId="3270251873" sldId="357"/>
            <ac:picMk id="43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4:30.998" v="2853" actId="1076"/>
          <ac:picMkLst>
            <pc:docMk/>
            <pc:sldMk cId="3270251873" sldId="357"/>
            <ac:picMk id="44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5:21.513" v="2869" actId="1076"/>
          <ac:picMkLst>
            <pc:docMk/>
            <pc:sldMk cId="3270251873" sldId="357"/>
            <ac:picMk id="47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25:26.274" v="2871" actId="1076"/>
          <ac:picMkLst>
            <pc:docMk/>
            <pc:sldMk cId="3270251873" sldId="357"/>
            <ac:picMk id="48" creationId="{00000000-0000-0000-0000-000000000000}"/>
          </ac:picMkLst>
        </pc:picChg>
        <pc:picChg chg="add mod">
          <ac:chgData name="Ekaterina Veselkova" userId="5ed5cb5c-b82d-4261-a35d-9158526644a8" providerId="ADAL" clId="{A8881072-A303-41E8-9B70-DFBB4CE55F14}" dt="2021-12-08T19:25:55.263" v="2875"/>
          <ac:picMkLst>
            <pc:docMk/>
            <pc:sldMk cId="3270251873" sldId="357"/>
            <ac:picMk id="115" creationId="{785095C2-2D90-4D7F-B085-8F1604837857}"/>
          </ac:picMkLst>
        </pc:picChg>
        <pc:cxnChg chg="mod">
          <ac:chgData name="Ekaterina Veselkova" userId="5ed5cb5c-b82d-4261-a35d-9158526644a8" providerId="ADAL" clId="{A8881072-A303-41E8-9B70-DFBB4CE55F14}" dt="2021-12-08T19:25:35.679" v="2873" actId="14100"/>
          <ac:cxnSpMkLst>
            <pc:docMk/>
            <pc:sldMk cId="3270251873" sldId="357"/>
            <ac:cxnSpMk id="3" creationId="{00000000-0000-0000-0000-000000000000}"/>
          </ac:cxnSpMkLst>
        </pc:cxnChg>
        <pc:cxnChg chg="add mod">
          <ac:chgData name="Ekaterina Veselkova" userId="5ed5cb5c-b82d-4261-a35d-9158526644a8" providerId="ADAL" clId="{A8881072-A303-41E8-9B70-DFBB4CE55F14}" dt="2021-12-08T19:25:40.396" v="2874" actId="1076"/>
          <ac:cxnSpMkLst>
            <pc:docMk/>
            <pc:sldMk cId="3270251873" sldId="357"/>
            <ac:cxnSpMk id="52" creationId="{25F9EC30-C936-4D2F-A870-2F3CD6E33C4E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58" creationId="{87C82F68-EE6E-4C76-8A2B-F90C5F64128E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59" creationId="{4E5CEB4E-BE73-48E7-A977-1738A4617F4C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60" creationId="{9D17A289-3A4E-4435-9C08-46F830A915C8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61" creationId="{CDE71984-0FA7-4F09-900B-D0A3289AF6DD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62" creationId="{52862823-F895-4FF8-96D0-0212E2D1F3DC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63" creationId="{DC93CFFE-0DE3-4608-B4D7-BB502FBACB59}"/>
          </ac:cxnSpMkLst>
        </pc:cxnChg>
        <pc:cxnChg chg="add del mod">
          <ac:chgData name="Ekaterina Veselkova" userId="5ed5cb5c-b82d-4261-a35d-9158526644a8" providerId="ADAL" clId="{A8881072-A303-41E8-9B70-DFBB4CE55F14}" dt="2021-12-08T19:22:29.754" v="2824"/>
          <ac:cxnSpMkLst>
            <pc:docMk/>
            <pc:sldMk cId="3270251873" sldId="357"/>
            <ac:cxnSpMk id="79" creationId="{3785E1B6-A5DD-4980-8E86-76EB8CB2859C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87" creationId="{7CCACADF-9C48-4DD6-8693-17037211F912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88" creationId="{DC3D959A-1CCA-4999-AC68-F7FA0AB8FFE9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89" creationId="{6869CFE6-32E9-4C13-975D-4687161E0C70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90" creationId="{E8768F2B-CEF7-47CD-AC75-65D40238347F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91" creationId="{D25EEEEE-C39D-41F8-918D-CC45B9A3A549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92" creationId="{193C3734-8701-4994-9691-DCEEC2EDC4B3}"/>
          </ac:cxnSpMkLst>
        </pc:cxnChg>
        <pc:cxnChg chg="add mod">
          <ac:chgData name="Ekaterina Veselkova" userId="5ed5cb5c-b82d-4261-a35d-9158526644a8" providerId="ADAL" clId="{A8881072-A303-41E8-9B70-DFBB4CE55F14}" dt="2021-12-08T19:22:51.465" v="2827" actId="1076"/>
          <ac:cxnSpMkLst>
            <pc:docMk/>
            <pc:sldMk cId="3270251873" sldId="357"/>
            <ac:cxnSpMk id="108" creationId="{B2B7CC93-A299-428A-AFD0-6A2EB62BCB2B}"/>
          </ac:cxnSpMkLst>
        </pc:cxnChg>
      </pc:sldChg>
      <pc:sldChg chg="del">
        <pc:chgData name="Ekaterina Veselkova" userId="5ed5cb5c-b82d-4261-a35d-9158526644a8" providerId="ADAL" clId="{A8881072-A303-41E8-9B70-DFBB4CE55F14}" dt="2021-12-08T19:45:34.658" v="3160" actId="47"/>
        <pc:sldMkLst>
          <pc:docMk/>
          <pc:sldMk cId="3899478843" sldId="583"/>
        </pc:sldMkLst>
      </pc:sldChg>
      <pc:sldChg chg="del">
        <pc:chgData name="Ekaterina Veselkova" userId="5ed5cb5c-b82d-4261-a35d-9158526644a8" providerId="ADAL" clId="{A8881072-A303-41E8-9B70-DFBB4CE55F14}" dt="2021-12-08T19:32:38.885" v="2965" actId="47"/>
        <pc:sldMkLst>
          <pc:docMk/>
          <pc:sldMk cId="4091755922" sldId="2147378079"/>
        </pc:sldMkLst>
      </pc:sldChg>
      <pc:sldChg chg="del">
        <pc:chgData name="Ekaterina Veselkova" userId="5ed5cb5c-b82d-4261-a35d-9158526644a8" providerId="ADAL" clId="{A8881072-A303-41E8-9B70-DFBB4CE55F14}" dt="2021-12-08T19:32:42.512" v="2967" actId="47"/>
        <pc:sldMkLst>
          <pc:docMk/>
          <pc:sldMk cId="3106480161" sldId="2147378085"/>
        </pc:sldMkLst>
      </pc:sldChg>
      <pc:sldChg chg="del">
        <pc:chgData name="Ekaterina Veselkova" userId="5ed5cb5c-b82d-4261-a35d-9158526644a8" providerId="ADAL" clId="{A8881072-A303-41E8-9B70-DFBB4CE55F14}" dt="2021-12-08T19:32:40.119" v="2966" actId="47"/>
        <pc:sldMkLst>
          <pc:docMk/>
          <pc:sldMk cId="4210414283" sldId="2147378086"/>
        </pc:sldMkLst>
      </pc:sldChg>
      <pc:sldChg chg="addSp delSp modSp add mod">
        <pc:chgData name="Ekaterina Veselkova" userId="5ed5cb5c-b82d-4261-a35d-9158526644a8" providerId="ADAL" clId="{A8881072-A303-41E8-9B70-DFBB4CE55F14}" dt="2021-12-08T20:38:54.003" v="3293" actId="1076"/>
        <pc:sldMkLst>
          <pc:docMk/>
          <pc:sldMk cId="2858129859" sldId="2147378087"/>
        </pc:sldMkLst>
        <pc:spChg chg="mod">
          <ac:chgData name="Ekaterina Veselkova" userId="5ed5cb5c-b82d-4261-a35d-9158526644a8" providerId="ADAL" clId="{A8881072-A303-41E8-9B70-DFBB4CE55F14}" dt="2021-12-08T19:33:23.291" v="2985" actId="20577"/>
          <ac:spMkLst>
            <pc:docMk/>
            <pc:sldMk cId="2858129859" sldId="2147378087"/>
            <ac:spMk id="13" creationId="{A4FEDAE8-8A78-4057-B0E8-0B4F3C14CFB7}"/>
          </ac:spMkLst>
        </pc:spChg>
        <pc:picChg chg="del">
          <ac:chgData name="Ekaterina Veselkova" userId="5ed5cb5c-b82d-4261-a35d-9158526644a8" providerId="ADAL" clId="{A8881072-A303-41E8-9B70-DFBB4CE55F14}" dt="2021-12-08T18:06:59.292" v="2090" actId="478"/>
          <ac:picMkLst>
            <pc:docMk/>
            <pc:sldMk cId="2858129859" sldId="2147378087"/>
            <ac:picMk id="2" creationId="{AC1D2DDD-749B-42F6-87DF-E128627F5B4E}"/>
          </ac:picMkLst>
        </pc:picChg>
        <pc:picChg chg="add del mod ord">
          <ac:chgData name="Ekaterina Veselkova" userId="5ed5cb5c-b82d-4261-a35d-9158526644a8" providerId="ADAL" clId="{A8881072-A303-41E8-9B70-DFBB4CE55F14}" dt="2021-12-08T18:08:03.371" v="2099" actId="167"/>
          <ac:picMkLst>
            <pc:docMk/>
            <pc:sldMk cId="2858129859" sldId="2147378087"/>
            <ac:picMk id="3" creationId="{1745A371-7FF8-4EE3-9F61-1F4F6554BD68}"/>
          </ac:picMkLst>
        </pc:picChg>
        <pc:picChg chg="mod">
          <ac:chgData name="Ekaterina Veselkova" userId="5ed5cb5c-b82d-4261-a35d-9158526644a8" providerId="ADAL" clId="{A8881072-A303-41E8-9B70-DFBB4CE55F14}" dt="2021-12-08T20:34:09.903" v="3244" actId="1076"/>
          <ac:picMkLst>
            <pc:docMk/>
            <pc:sldMk cId="2858129859" sldId="2147378087"/>
            <ac:picMk id="4" creationId="{537BB24B-3223-4FAF-9D8C-5E93CCF45B26}"/>
          </ac:picMkLst>
        </pc:picChg>
        <pc:picChg chg="add del">
          <ac:chgData name="Ekaterina Veselkova" userId="5ed5cb5c-b82d-4261-a35d-9158526644a8" providerId="ADAL" clId="{A8881072-A303-41E8-9B70-DFBB4CE55F14}" dt="2021-12-08T20:34:05.402" v="3243" actId="478"/>
          <ac:picMkLst>
            <pc:docMk/>
            <pc:sldMk cId="2858129859" sldId="2147378087"/>
            <ac:picMk id="8" creationId="{CAE0D1A7-E015-4EBF-9A50-23AD8DB7B664}"/>
          </ac:picMkLst>
        </pc:picChg>
        <pc:picChg chg="add mod">
          <ac:chgData name="Ekaterina Veselkova" userId="5ed5cb5c-b82d-4261-a35d-9158526644a8" providerId="ADAL" clId="{A8881072-A303-41E8-9B70-DFBB4CE55F14}" dt="2021-12-08T18:08:17.466" v="2103" actId="1076"/>
          <ac:picMkLst>
            <pc:docMk/>
            <pc:sldMk cId="2858129859" sldId="2147378087"/>
            <ac:picMk id="10" creationId="{CA4CA6F9-0271-471A-863A-E39CF1D638C2}"/>
          </ac:picMkLst>
        </pc:picChg>
        <pc:picChg chg="add mod">
          <ac:chgData name="Ekaterina Veselkova" userId="5ed5cb5c-b82d-4261-a35d-9158526644a8" providerId="ADAL" clId="{A8881072-A303-41E8-9B70-DFBB4CE55F14}" dt="2021-12-08T20:38:54.003" v="3293" actId="1076"/>
          <ac:picMkLst>
            <pc:docMk/>
            <pc:sldMk cId="2858129859" sldId="2147378087"/>
            <ac:picMk id="12" creationId="{718FA2B2-13D5-4C61-9BF0-E3C3D6C986AC}"/>
          </ac:picMkLst>
        </pc:picChg>
        <pc:picChg chg="add mod">
          <ac:chgData name="Ekaterina Veselkova" userId="5ed5cb5c-b82d-4261-a35d-9158526644a8" providerId="ADAL" clId="{A8881072-A303-41E8-9B70-DFBB4CE55F14}" dt="2021-12-08T20:38:54.003" v="3293" actId="1076"/>
          <ac:picMkLst>
            <pc:docMk/>
            <pc:sldMk cId="2858129859" sldId="2147378087"/>
            <ac:picMk id="15" creationId="{7E55E83B-E5C7-491A-BE2D-DB6F49AC6843}"/>
          </ac:picMkLst>
        </pc:picChg>
        <pc:picChg chg="add mod">
          <ac:chgData name="Ekaterina Veselkova" userId="5ed5cb5c-b82d-4261-a35d-9158526644a8" providerId="ADAL" clId="{A8881072-A303-41E8-9B70-DFBB4CE55F14}" dt="2021-12-08T20:38:54.003" v="3293" actId="1076"/>
          <ac:picMkLst>
            <pc:docMk/>
            <pc:sldMk cId="2858129859" sldId="2147378087"/>
            <ac:picMk id="17" creationId="{F3742BDE-5682-4597-BBD1-DAB00A48050F}"/>
          </ac:picMkLst>
        </pc:picChg>
        <pc:picChg chg="add mod">
          <ac:chgData name="Ekaterina Veselkova" userId="5ed5cb5c-b82d-4261-a35d-9158526644a8" providerId="ADAL" clId="{A8881072-A303-41E8-9B70-DFBB4CE55F14}" dt="2021-12-08T20:38:54.003" v="3293" actId="1076"/>
          <ac:picMkLst>
            <pc:docMk/>
            <pc:sldMk cId="2858129859" sldId="2147378087"/>
            <ac:picMk id="19" creationId="{F5EDFB42-CC3A-4368-A3AB-074E08D11FEC}"/>
          </ac:picMkLst>
        </pc:picChg>
      </pc:sldChg>
      <pc:sldChg chg="addSp delSp modSp add mod">
        <pc:chgData name="Ekaterina Veselkova" userId="5ed5cb5c-b82d-4261-a35d-9158526644a8" providerId="ADAL" clId="{A8881072-A303-41E8-9B70-DFBB4CE55F14}" dt="2021-12-08T21:31:05.696" v="3304" actId="20577"/>
        <pc:sldMkLst>
          <pc:docMk/>
          <pc:sldMk cId="2303474851" sldId="2147378088"/>
        </pc:sldMkLst>
        <pc:spChg chg="del">
          <ac:chgData name="Ekaterina Veselkova" userId="5ed5cb5c-b82d-4261-a35d-9158526644a8" providerId="ADAL" clId="{A8881072-A303-41E8-9B70-DFBB4CE55F14}" dt="2021-12-08T15:35:23.040" v="552" actId="478"/>
          <ac:spMkLst>
            <pc:docMk/>
            <pc:sldMk cId="2303474851" sldId="2147378088"/>
            <ac:spMk id="13" creationId="{A4FEDAE8-8A78-4057-B0E8-0B4F3C14CFB7}"/>
          </ac:spMkLst>
        </pc:spChg>
        <pc:spChg chg="add mod">
          <ac:chgData name="Ekaterina Veselkova" userId="5ed5cb5c-b82d-4261-a35d-9158526644a8" providerId="ADAL" clId="{A8881072-A303-41E8-9B70-DFBB4CE55F14}" dt="2021-12-08T16:49:39.066" v="725" actId="1076"/>
          <ac:spMkLst>
            <pc:docMk/>
            <pc:sldMk cId="2303474851" sldId="2147378088"/>
            <ac:spMk id="25" creationId="{C59A8FCB-C1EA-4B25-BE6D-6B4FB3DCEEEB}"/>
          </ac:spMkLst>
        </pc:spChg>
        <pc:spChg chg="add mod">
          <ac:chgData name="Ekaterina Veselkova" userId="5ed5cb5c-b82d-4261-a35d-9158526644a8" providerId="ADAL" clId="{A8881072-A303-41E8-9B70-DFBB4CE55F14}" dt="2021-12-08T21:31:05.696" v="3304" actId="20577"/>
          <ac:spMkLst>
            <pc:docMk/>
            <pc:sldMk cId="2303474851" sldId="2147378088"/>
            <ac:spMk id="28" creationId="{B91F1E8B-54A6-4802-AE4F-FFCC588C0464}"/>
          </ac:spMkLst>
        </pc:spChg>
        <pc:spChg chg="add del mod">
          <ac:chgData name="Ekaterina Veselkova" userId="5ed5cb5c-b82d-4261-a35d-9158526644a8" providerId="ADAL" clId="{A8881072-A303-41E8-9B70-DFBB4CE55F14}" dt="2021-12-08T17:25:46.387" v="1533" actId="478"/>
          <ac:spMkLst>
            <pc:docMk/>
            <pc:sldMk cId="2303474851" sldId="2147378088"/>
            <ac:spMk id="29" creationId="{C7581B4B-1A36-49CE-9266-F6660DA9AD6D}"/>
          </ac:spMkLst>
        </pc:spChg>
        <pc:spChg chg="mod">
          <ac:chgData name="Ekaterina Veselkova" userId="5ed5cb5c-b82d-4261-a35d-9158526644a8" providerId="ADAL" clId="{A8881072-A303-41E8-9B70-DFBB4CE55F14}" dt="2021-12-08T17:26:27.604" v="1583" actId="20577"/>
          <ac:spMkLst>
            <pc:docMk/>
            <pc:sldMk cId="2303474851" sldId="2147378088"/>
            <ac:spMk id="30" creationId="{2125D8B3-FC95-409F-B1E1-F1057A801912}"/>
          </ac:spMkLst>
        </pc:spChg>
        <pc:spChg chg="add del mod">
          <ac:chgData name="Ekaterina Veselkova" userId="5ed5cb5c-b82d-4261-a35d-9158526644a8" providerId="ADAL" clId="{A8881072-A303-41E8-9B70-DFBB4CE55F14}" dt="2021-12-08T17:25:39.638" v="1532" actId="478"/>
          <ac:spMkLst>
            <pc:docMk/>
            <pc:sldMk cId="2303474851" sldId="2147378088"/>
            <ac:spMk id="31" creationId="{E98DC32A-B2E9-45DA-A3E3-1C18691AE3BB}"/>
          </ac:spMkLst>
        </pc:spChg>
        <pc:spChg chg="add mod">
          <ac:chgData name="Ekaterina Veselkova" userId="5ed5cb5c-b82d-4261-a35d-9158526644a8" providerId="ADAL" clId="{A8881072-A303-41E8-9B70-DFBB4CE55F14}" dt="2021-12-08T17:27:44.074" v="1589" actId="1076"/>
          <ac:spMkLst>
            <pc:docMk/>
            <pc:sldMk cId="2303474851" sldId="2147378088"/>
            <ac:spMk id="48" creationId="{23418B15-2A85-41CD-8D62-4A5F97D6EF73}"/>
          </ac:spMkLst>
        </pc:spChg>
        <pc:spChg chg="add mod">
          <ac:chgData name="Ekaterina Veselkova" userId="5ed5cb5c-b82d-4261-a35d-9158526644a8" providerId="ADAL" clId="{A8881072-A303-41E8-9B70-DFBB4CE55F14}" dt="2021-12-08T16:49:39.066" v="725" actId="1076"/>
          <ac:spMkLst>
            <pc:docMk/>
            <pc:sldMk cId="2303474851" sldId="2147378088"/>
            <ac:spMk id="49" creationId="{E3A93EB0-1A77-4D3B-A580-3F74A96FF455}"/>
          </ac:spMkLst>
        </pc:spChg>
        <pc:spChg chg="add mod">
          <ac:chgData name="Ekaterina Veselkova" userId="5ed5cb5c-b82d-4261-a35d-9158526644a8" providerId="ADAL" clId="{A8881072-A303-41E8-9B70-DFBB4CE55F14}" dt="2021-12-08T16:49:39.066" v="725" actId="1076"/>
          <ac:spMkLst>
            <pc:docMk/>
            <pc:sldMk cId="2303474851" sldId="2147378088"/>
            <ac:spMk id="50" creationId="{CB4C9342-B57D-4A69-8038-AE989B1BEF9B}"/>
          </ac:spMkLst>
        </pc:spChg>
        <pc:spChg chg="add mod">
          <ac:chgData name="Ekaterina Veselkova" userId="5ed5cb5c-b82d-4261-a35d-9158526644a8" providerId="ADAL" clId="{A8881072-A303-41E8-9B70-DFBB4CE55F14}" dt="2021-12-08T19:46:35.109" v="3167" actId="207"/>
          <ac:spMkLst>
            <pc:docMk/>
            <pc:sldMk cId="2303474851" sldId="2147378088"/>
            <ac:spMk id="51" creationId="{C8661CA0-652D-4BF8-8222-E9930CF5F2CA}"/>
          </ac:spMkLst>
        </pc:spChg>
        <pc:spChg chg="add mod">
          <ac:chgData name="Ekaterina Veselkova" userId="5ed5cb5c-b82d-4261-a35d-9158526644a8" providerId="ADAL" clId="{A8881072-A303-41E8-9B70-DFBB4CE55F14}" dt="2021-12-08T16:49:39.066" v="725" actId="1076"/>
          <ac:spMkLst>
            <pc:docMk/>
            <pc:sldMk cId="2303474851" sldId="2147378088"/>
            <ac:spMk id="52" creationId="{F7B21FF6-5541-431C-A573-8479F37894BF}"/>
          </ac:spMkLst>
        </pc:spChg>
        <pc:spChg chg="add mod">
          <ac:chgData name="Ekaterina Veselkova" userId="5ed5cb5c-b82d-4261-a35d-9158526644a8" providerId="ADAL" clId="{A8881072-A303-41E8-9B70-DFBB4CE55F14}" dt="2021-12-08T16:49:39.066" v="725" actId="1076"/>
          <ac:spMkLst>
            <pc:docMk/>
            <pc:sldMk cId="2303474851" sldId="2147378088"/>
            <ac:spMk id="53" creationId="{0DC846C9-48D3-4607-B2F3-E3649A085282}"/>
          </ac:spMkLst>
        </pc:spChg>
        <pc:spChg chg="add del">
          <ac:chgData name="Ekaterina Veselkova" userId="5ed5cb5c-b82d-4261-a35d-9158526644a8" providerId="ADAL" clId="{A8881072-A303-41E8-9B70-DFBB4CE55F14}" dt="2021-12-08T17:15:36.622" v="1512" actId="22"/>
          <ac:spMkLst>
            <pc:docMk/>
            <pc:sldMk cId="2303474851" sldId="2147378088"/>
            <ac:spMk id="63" creationId="{4DF94837-DD29-4ED3-92E2-F50454179F61}"/>
          </ac:spMkLst>
        </pc:spChg>
        <pc:spChg chg="add del mod">
          <ac:chgData name="Ekaterina Veselkova" userId="5ed5cb5c-b82d-4261-a35d-9158526644a8" providerId="ADAL" clId="{A8881072-A303-41E8-9B70-DFBB4CE55F14}" dt="2021-12-08T17:25:36.617" v="1531" actId="478"/>
          <ac:spMkLst>
            <pc:docMk/>
            <pc:sldMk cId="2303474851" sldId="2147378088"/>
            <ac:spMk id="64" creationId="{F782E311-47CE-4ECC-825F-03D879C736FD}"/>
          </ac:spMkLst>
        </pc:spChg>
        <pc:spChg chg="add mod">
          <ac:chgData name="Ekaterina Veselkova" userId="5ed5cb5c-b82d-4261-a35d-9158526644a8" providerId="ADAL" clId="{A8881072-A303-41E8-9B70-DFBB4CE55F14}" dt="2021-12-08T17:26:24.161" v="1575" actId="20577"/>
          <ac:spMkLst>
            <pc:docMk/>
            <pc:sldMk cId="2303474851" sldId="2147378088"/>
            <ac:spMk id="65" creationId="{3B7F2253-AFC7-4B18-ACDB-460C2D401972}"/>
          </ac:spMkLst>
        </pc:spChg>
        <pc:graphicFrameChg chg="add del">
          <ac:chgData name="Ekaterina Veselkova" userId="5ed5cb5c-b82d-4261-a35d-9158526644a8" providerId="ADAL" clId="{A8881072-A303-41E8-9B70-DFBB4CE55F14}" dt="2021-12-08T15:36:05.878" v="554" actId="3680"/>
          <ac:graphicFrameMkLst>
            <pc:docMk/>
            <pc:sldMk cId="2303474851" sldId="2147378088"/>
            <ac:graphicFrameMk id="7" creationId="{AD60A3DA-0766-439F-81C9-83C3248E1483}"/>
          </ac:graphicFrameMkLst>
        </pc:graphicFrameChg>
        <pc:graphicFrameChg chg="add del">
          <ac:chgData name="Ekaterina Veselkova" userId="5ed5cb5c-b82d-4261-a35d-9158526644a8" providerId="ADAL" clId="{A8881072-A303-41E8-9B70-DFBB4CE55F14}" dt="2021-12-08T15:36:29.676" v="556" actId="3680"/>
          <ac:graphicFrameMkLst>
            <pc:docMk/>
            <pc:sldMk cId="2303474851" sldId="2147378088"/>
            <ac:graphicFrameMk id="8" creationId="{2ACD3858-66D4-436C-A1F4-419471A775DC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22:04.215" v="558"/>
          <ac:graphicFrameMkLst>
            <pc:docMk/>
            <pc:sldMk cId="2303474851" sldId="2147378088"/>
            <ac:graphicFrameMk id="9" creationId="{2A62FF05-3DFB-4A56-BB11-1549DEEDEE1D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23:57.843" v="564" actId="478"/>
          <ac:graphicFrameMkLst>
            <pc:docMk/>
            <pc:sldMk cId="2303474851" sldId="2147378088"/>
            <ac:graphicFrameMk id="10" creationId="{E088F49A-404C-4010-B9FA-9CD1B30DF116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25:21.319" v="567" actId="478"/>
          <ac:graphicFrameMkLst>
            <pc:docMk/>
            <pc:sldMk cId="2303474851" sldId="2147378088"/>
            <ac:graphicFrameMk id="11" creationId="{66421134-C584-4FCB-A0E0-C5706869529C}"/>
          </ac:graphicFrameMkLst>
        </pc:graphicFrameChg>
        <pc:graphicFrameChg chg="add del mod modGraphic">
          <ac:chgData name="Ekaterina Veselkova" userId="5ed5cb5c-b82d-4261-a35d-9158526644a8" providerId="ADAL" clId="{A8881072-A303-41E8-9B70-DFBB4CE55F14}" dt="2021-12-08T16:32:27.086" v="610" actId="478"/>
          <ac:graphicFrameMkLst>
            <pc:docMk/>
            <pc:sldMk cId="2303474851" sldId="2147378088"/>
            <ac:graphicFrameMk id="20" creationId="{8AAD2620-7479-46D9-81F0-C6A69E89D21C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29:37.424" v="603"/>
          <ac:graphicFrameMkLst>
            <pc:docMk/>
            <pc:sldMk cId="2303474851" sldId="2147378088"/>
            <ac:graphicFrameMk id="22" creationId="{2C19020C-527B-4C9F-84E1-8AFF5F06B40E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29:56.849" v="605"/>
          <ac:graphicFrameMkLst>
            <pc:docMk/>
            <pc:sldMk cId="2303474851" sldId="2147378088"/>
            <ac:graphicFrameMk id="23" creationId="{37EACC88-6FED-463F-9ACF-697BF759B5C5}"/>
          </ac:graphicFrameMkLst>
        </pc:graphicFrameChg>
        <pc:graphicFrameChg chg="add del mod">
          <ac:chgData name="Ekaterina Veselkova" userId="5ed5cb5c-b82d-4261-a35d-9158526644a8" providerId="ADAL" clId="{A8881072-A303-41E8-9B70-DFBB4CE55F14}" dt="2021-12-08T16:30:13.249" v="609"/>
          <ac:graphicFrameMkLst>
            <pc:docMk/>
            <pc:sldMk cId="2303474851" sldId="2147378088"/>
            <ac:graphicFrameMk id="24" creationId="{DA513043-DE88-4326-8301-EDC551C0BDB9}"/>
          </ac:graphicFrameMkLst>
        </pc:graphicFrameChg>
        <pc:picChg chg="del">
          <ac:chgData name="Ekaterina Veselkova" userId="5ed5cb5c-b82d-4261-a35d-9158526644a8" providerId="ADAL" clId="{A8881072-A303-41E8-9B70-DFBB4CE55F14}" dt="2021-12-08T18:05:50.073" v="2079" actId="478"/>
          <ac:picMkLst>
            <pc:docMk/>
            <pc:sldMk cId="2303474851" sldId="2147378088"/>
            <ac:picMk id="2" creationId="{AC1D2DDD-749B-42F6-87DF-E128627F5B4E}"/>
          </ac:picMkLst>
        </pc:picChg>
        <pc:picChg chg="del">
          <ac:chgData name="Ekaterina Veselkova" userId="5ed5cb5c-b82d-4261-a35d-9158526644a8" providerId="ADAL" clId="{A8881072-A303-41E8-9B70-DFBB4CE55F14}" dt="2021-12-08T18:06:44.649" v="2089" actId="478"/>
          <ac:picMkLst>
            <pc:docMk/>
            <pc:sldMk cId="2303474851" sldId="2147378088"/>
            <ac:picMk id="3" creationId="{1745A371-7FF8-4EE3-9F61-1F4F6554BD68}"/>
          </ac:picMkLst>
        </pc:picChg>
        <pc:picChg chg="del">
          <ac:chgData name="Ekaterina Veselkova" userId="5ed5cb5c-b82d-4261-a35d-9158526644a8" providerId="ADAL" clId="{A8881072-A303-41E8-9B70-DFBB4CE55F14}" dt="2021-12-08T15:35:18.571" v="551" actId="478"/>
          <ac:picMkLst>
            <pc:docMk/>
            <pc:sldMk cId="2303474851" sldId="2147378088"/>
            <ac:picMk id="4" creationId="{537BB24B-3223-4FAF-9D8C-5E93CCF45B26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2" creationId="{5F56067D-57CC-49FB-AA3C-53F8E0754271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4" creationId="{31C4590D-3F6D-4307-9702-F54886BDB183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5" creationId="{D665F012-2B68-46C4-86F9-37F4A5E68192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6" creationId="{256DD4B6-8BE7-49B1-B643-C60DD92D2A7E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7" creationId="{15761C54-0979-401E-905A-164F560B3514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8" creationId="{218274C0-7618-4ED9-90CE-0DE160882ADE}"/>
          </ac:picMkLst>
        </pc:picChg>
        <pc:picChg chg="add del mod">
          <ac:chgData name="Ekaterina Veselkova" userId="5ed5cb5c-b82d-4261-a35d-9158526644a8" providerId="ADAL" clId="{A8881072-A303-41E8-9B70-DFBB4CE55F14}" dt="2021-12-08T16:22:04.215" v="558"/>
          <ac:picMkLst>
            <pc:docMk/>
            <pc:sldMk cId="2303474851" sldId="2147378088"/>
            <ac:picMk id="19" creationId="{E833CE41-A7A2-4DE5-B29E-E10FD39D11D8}"/>
          </ac:picMkLst>
        </pc:picChg>
        <pc:picChg chg="add del mod">
          <ac:chgData name="Ekaterina Veselkova" userId="5ed5cb5c-b82d-4261-a35d-9158526644a8" providerId="ADAL" clId="{A8881072-A303-41E8-9B70-DFBB4CE55F14}" dt="2021-12-08T16:33:17.210" v="616" actId="478"/>
          <ac:picMkLst>
            <pc:docMk/>
            <pc:sldMk cId="2303474851" sldId="2147378088"/>
            <ac:picMk id="21" creationId="{F45B01DC-1187-40E8-8A1C-D9678C58D270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2" creationId="{31C4590D-3F6D-4307-9702-F54886BDB183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3" creationId="{D665F012-2B68-46C4-86F9-37F4A5E68192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4" creationId="{256DD4B6-8BE7-49B1-B643-C60DD92D2A7E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5" creationId="{15761C54-0979-401E-905A-164F560B3514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6" creationId="{218274C0-7618-4ED9-90CE-0DE160882ADE}"/>
          </ac:picMkLst>
        </pc:picChg>
        <pc:picChg chg="add mod">
          <ac:chgData name="Ekaterina Veselkova" userId="5ed5cb5c-b82d-4261-a35d-9158526644a8" providerId="ADAL" clId="{A8881072-A303-41E8-9B70-DFBB4CE55F14}" dt="2021-12-08T16:33:04.797" v="615"/>
          <ac:picMkLst>
            <pc:docMk/>
            <pc:sldMk cId="2303474851" sldId="2147378088"/>
            <ac:picMk id="37" creationId="{E833CE41-A7A2-4DE5-B29E-E10FD39D11D8}"/>
          </ac:picMkLst>
        </pc:picChg>
        <pc:picChg chg="add mod">
          <ac:chgData name="Ekaterina Veselkova" userId="5ed5cb5c-b82d-4261-a35d-9158526644a8" providerId="ADAL" clId="{A8881072-A303-41E8-9B70-DFBB4CE55F14}" dt="2021-12-08T16:49:18.943" v="719" actId="1076"/>
          <ac:picMkLst>
            <pc:docMk/>
            <pc:sldMk cId="2303474851" sldId="2147378088"/>
            <ac:picMk id="38" creationId="{5F56067D-57CC-49FB-AA3C-53F8E0754271}"/>
          </ac:picMkLst>
        </pc:picChg>
        <pc:picChg chg="add mod">
          <ac:chgData name="Ekaterina Veselkova" userId="5ed5cb5c-b82d-4261-a35d-9158526644a8" providerId="ADAL" clId="{A8881072-A303-41E8-9B70-DFBB4CE55F14}" dt="2021-12-08T16:49:20.915" v="720" actId="1076"/>
          <ac:picMkLst>
            <pc:docMk/>
            <pc:sldMk cId="2303474851" sldId="2147378088"/>
            <ac:picMk id="39" creationId="{31C4590D-3F6D-4307-9702-F54886BDB183}"/>
          </ac:picMkLst>
        </pc:picChg>
        <pc:picChg chg="add mod">
          <ac:chgData name="Ekaterina Veselkova" userId="5ed5cb5c-b82d-4261-a35d-9158526644a8" providerId="ADAL" clId="{A8881072-A303-41E8-9B70-DFBB4CE55F14}" dt="2021-12-08T16:49:22.904" v="721" actId="1076"/>
          <ac:picMkLst>
            <pc:docMk/>
            <pc:sldMk cId="2303474851" sldId="2147378088"/>
            <ac:picMk id="40" creationId="{D665F012-2B68-46C4-86F9-37F4A5E68192}"/>
          </ac:picMkLst>
        </pc:picChg>
        <pc:picChg chg="add mod">
          <ac:chgData name="Ekaterina Veselkova" userId="5ed5cb5c-b82d-4261-a35d-9158526644a8" providerId="ADAL" clId="{A8881072-A303-41E8-9B70-DFBB4CE55F14}" dt="2021-12-08T16:49:24.693" v="722" actId="1076"/>
          <ac:picMkLst>
            <pc:docMk/>
            <pc:sldMk cId="2303474851" sldId="2147378088"/>
            <ac:picMk id="41" creationId="{256DD4B6-8BE7-49B1-B643-C60DD92D2A7E}"/>
          </ac:picMkLst>
        </pc:picChg>
        <pc:picChg chg="add mod">
          <ac:chgData name="Ekaterina Veselkova" userId="5ed5cb5c-b82d-4261-a35d-9158526644a8" providerId="ADAL" clId="{A8881072-A303-41E8-9B70-DFBB4CE55F14}" dt="2021-12-08T16:49:27.453" v="723" actId="1076"/>
          <ac:picMkLst>
            <pc:docMk/>
            <pc:sldMk cId="2303474851" sldId="2147378088"/>
            <ac:picMk id="42" creationId="{15761C54-0979-401E-905A-164F560B3514}"/>
          </ac:picMkLst>
        </pc:picChg>
        <pc:picChg chg="add mod">
          <ac:chgData name="Ekaterina Veselkova" userId="5ed5cb5c-b82d-4261-a35d-9158526644a8" providerId="ADAL" clId="{A8881072-A303-41E8-9B70-DFBB4CE55F14}" dt="2021-12-08T16:49:30.113" v="724" actId="1076"/>
          <ac:picMkLst>
            <pc:docMk/>
            <pc:sldMk cId="2303474851" sldId="2147378088"/>
            <ac:picMk id="43" creationId="{218274C0-7618-4ED9-90CE-0DE160882ADE}"/>
          </ac:picMkLst>
        </pc:picChg>
        <pc:picChg chg="add mod">
          <ac:chgData name="Ekaterina Veselkova" userId="5ed5cb5c-b82d-4261-a35d-9158526644a8" providerId="ADAL" clId="{A8881072-A303-41E8-9B70-DFBB4CE55F14}" dt="2021-12-08T17:27:39.982" v="1588" actId="1076"/>
          <ac:picMkLst>
            <pc:docMk/>
            <pc:sldMk cId="2303474851" sldId="2147378088"/>
            <ac:picMk id="44" creationId="{E833CE41-A7A2-4DE5-B29E-E10FD39D11D8}"/>
          </ac:picMkLst>
        </pc:picChg>
        <pc:picChg chg="add del mod">
          <ac:chgData name="Ekaterina Veselkova" userId="5ed5cb5c-b82d-4261-a35d-9158526644a8" providerId="ADAL" clId="{A8881072-A303-41E8-9B70-DFBB4CE55F14}" dt="2021-12-08T18:05:57.522" v="2083" actId="478"/>
          <ac:picMkLst>
            <pc:docMk/>
            <pc:sldMk cId="2303474851" sldId="2147378088"/>
            <ac:picMk id="67" creationId="{BE9DB712-961F-4D42-B327-2D9DA24D9088}"/>
          </ac:picMkLst>
        </pc:picChg>
        <pc:picChg chg="add mod">
          <ac:chgData name="Ekaterina Veselkova" userId="5ed5cb5c-b82d-4261-a35d-9158526644a8" providerId="ADAL" clId="{A8881072-A303-41E8-9B70-DFBB4CE55F14}" dt="2021-12-08T18:06:18.698" v="2088" actId="1076"/>
          <ac:picMkLst>
            <pc:docMk/>
            <pc:sldMk cId="2303474851" sldId="2147378088"/>
            <ac:picMk id="68" creationId="{1D507B23-2426-452A-99E3-A7B66BC10940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4" creationId="{7E254018-B900-478A-9355-E5DE913F11EC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5" creationId="{2692FBE3-E4C5-45BE-A6AB-B160C974485E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6" creationId="{82881B46-E5A9-464D-991A-DC3DEE7C6837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7" creationId="{D9D91E79-7739-47C2-97DF-4B8E981C9E42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8" creationId="{E520A72A-ACB0-4331-8F95-2288E71646DA}"/>
          </ac:picMkLst>
        </pc:picChg>
        <pc:picChg chg="add del mod">
          <ac:chgData name="Ekaterina Veselkova" userId="5ed5cb5c-b82d-4261-a35d-9158526644a8" providerId="ADAL" clId="{A8881072-A303-41E8-9B70-DFBB4CE55F14}" dt="2021-12-08T16:30:13.249" v="609"/>
          <ac:picMkLst>
            <pc:docMk/>
            <pc:sldMk cId="2303474851" sldId="2147378088"/>
            <ac:picMk id="50189" creationId="{642C5C28-2336-495A-9272-A12CA8772891}"/>
          </ac:picMkLst>
        </pc:pic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27" creationId="{E660ECF9-C87D-4739-A8BE-A870A9804EBE}"/>
          </ac:cxnSpMkLst>
        </pc:cxn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54" creationId="{CA5693C8-4EFC-4A80-98E9-53C095ACAC94}"/>
          </ac:cxnSpMkLst>
        </pc:cxn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55" creationId="{64181518-5385-453F-B8F0-132785DD5248}"/>
          </ac:cxnSpMkLst>
        </pc:cxn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56" creationId="{5C7C5C33-141D-46EA-89E9-64F25B0E0F6F}"/>
          </ac:cxnSpMkLst>
        </pc:cxn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57" creationId="{154CA8D4-25E2-4689-9A18-57F05E1BCF77}"/>
          </ac:cxnSpMkLst>
        </pc:cxnChg>
        <pc:cxnChg chg="add mod">
          <ac:chgData name="Ekaterina Veselkova" userId="5ed5cb5c-b82d-4261-a35d-9158526644a8" providerId="ADAL" clId="{A8881072-A303-41E8-9B70-DFBB4CE55F14}" dt="2021-12-08T16:49:39.066" v="725" actId="1076"/>
          <ac:cxnSpMkLst>
            <pc:docMk/>
            <pc:sldMk cId="2303474851" sldId="2147378088"/>
            <ac:cxnSpMk id="58" creationId="{96E326EF-DA3A-4E72-A564-C948DFC3B1AE}"/>
          </ac:cxnSpMkLst>
        </pc:cxnChg>
        <pc:cxnChg chg="add mod">
          <ac:chgData name="Ekaterina Veselkova" userId="5ed5cb5c-b82d-4261-a35d-9158526644a8" providerId="ADAL" clId="{A8881072-A303-41E8-9B70-DFBB4CE55F14}" dt="2021-12-08T17:27:53.684" v="1591" actId="1076"/>
          <ac:cxnSpMkLst>
            <pc:docMk/>
            <pc:sldMk cId="2303474851" sldId="2147378088"/>
            <ac:cxnSpMk id="66" creationId="{60D47BF4-85DE-43FF-B2AF-1A7A92040BE1}"/>
          </ac:cxnSpMkLst>
        </pc:cxnChg>
      </pc:sldChg>
      <pc:sldChg chg="add del">
        <pc:chgData name="Ekaterina Veselkova" userId="5ed5cb5c-b82d-4261-a35d-9158526644a8" providerId="ADAL" clId="{A8881072-A303-41E8-9B70-DFBB4CE55F14}" dt="2021-12-08T15:32:40.376" v="549" actId="2696"/>
        <pc:sldMkLst>
          <pc:docMk/>
          <pc:sldMk cId="3831497417" sldId="2147378088"/>
        </pc:sldMkLst>
      </pc:sldChg>
      <pc:sldChg chg="addSp delSp modSp add mod">
        <pc:chgData name="Ekaterina Veselkova" userId="5ed5cb5c-b82d-4261-a35d-9158526644a8" providerId="ADAL" clId="{A8881072-A303-41E8-9B70-DFBB4CE55F14}" dt="2021-12-08T19:48:18.750" v="3176" actId="1582"/>
        <pc:sldMkLst>
          <pc:docMk/>
          <pc:sldMk cId="2703168349" sldId="2147378089"/>
        </pc:sldMkLst>
        <pc:spChg chg="add mod">
          <ac:chgData name="Ekaterina Veselkova" userId="5ed5cb5c-b82d-4261-a35d-9158526644a8" providerId="ADAL" clId="{A8881072-A303-41E8-9B70-DFBB4CE55F14}" dt="2021-12-08T17:59:01.718" v="1898" actId="1076"/>
          <ac:spMkLst>
            <pc:docMk/>
            <pc:sldMk cId="2703168349" sldId="2147378089"/>
            <ac:spMk id="7" creationId="{8F61523B-0771-4CFC-93F3-548DEA7E994C}"/>
          </ac:spMkLst>
        </pc:spChg>
        <pc:spChg chg="add del mod">
          <ac:chgData name="Ekaterina Veselkova" userId="5ed5cb5c-b82d-4261-a35d-9158526644a8" providerId="ADAL" clId="{A8881072-A303-41E8-9B70-DFBB4CE55F14}" dt="2021-12-08T17:48:10.349" v="1677" actId="478"/>
          <ac:spMkLst>
            <pc:docMk/>
            <pc:sldMk cId="2703168349" sldId="2147378089"/>
            <ac:spMk id="8" creationId="{7B55FF68-95B6-460F-A3F1-1CE291D7214D}"/>
          </ac:spMkLst>
        </pc:spChg>
        <pc:spChg chg="del">
          <ac:chgData name="Ekaterina Veselkova" userId="5ed5cb5c-b82d-4261-a35d-9158526644a8" providerId="ADAL" clId="{A8881072-A303-41E8-9B70-DFBB4CE55F14}" dt="2021-12-08T17:30:22.307" v="1594" actId="478"/>
          <ac:spMkLst>
            <pc:docMk/>
            <pc:sldMk cId="2703168349" sldId="2147378089"/>
            <ac:spMk id="13" creationId="{A4FEDAE8-8A78-4057-B0E8-0B4F3C14CFB7}"/>
          </ac:spMkLst>
        </pc:spChg>
        <pc:spChg chg="add mod">
          <ac:chgData name="Ekaterina Veselkova" userId="5ed5cb5c-b82d-4261-a35d-9158526644a8" providerId="ADAL" clId="{A8881072-A303-41E8-9B70-DFBB4CE55F14}" dt="2021-12-08T17:59:55.438" v="1902" actId="1076"/>
          <ac:spMkLst>
            <pc:docMk/>
            <pc:sldMk cId="2703168349" sldId="2147378089"/>
            <ac:spMk id="14" creationId="{91BE7028-9136-47AB-9845-340DD22EA5AA}"/>
          </ac:spMkLst>
        </pc:spChg>
        <pc:spChg chg="add mod">
          <ac:chgData name="Ekaterina Veselkova" userId="5ed5cb5c-b82d-4261-a35d-9158526644a8" providerId="ADAL" clId="{A8881072-A303-41E8-9B70-DFBB4CE55F14}" dt="2021-12-08T17:59:01.718" v="1898" actId="1076"/>
          <ac:spMkLst>
            <pc:docMk/>
            <pc:sldMk cId="2703168349" sldId="2147378089"/>
            <ac:spMk id="16" creationId="{2701178F-A9D9-4D5D-ADBE-1D2FB5A680E3}"/>
          </ac:spMkLst>
        </pc:spChg>
        <pc:spChg chg="add mod">
          <ac:chgData name="Ekaterina Veselkova" userId="5ed5cb5c-b82d-4261-a35d-9158526644a8" providerId="ADAL" clId="{A8881072-A303-41E8-9B70-DFBB4CE55F14}" dt="2021-12-08T17:59:52.083" v="1901" actId="14100"/>
          <ac:spMkLst>
            <pc:docMk/>
            <pc:sldMk cId="2703168349" sldId="2147378089"/>
            <ac:spMk id="17" creationId="{4B896E17-52CE-44D3-AD69-B5B1131B2BD4}"/>
          </ac:spMkLst>
        </pc:spChg>
        <pc:spChg chg="mod">
          <ac:chgData name="Ekaterina Veselkova" userId="5ed5cb5c-b82d-4261-a35d-9158526644a8" providerId="ADAL" clId="{A8881072-A303-41E8-9B70-DFBB4CE55F14}" dt="2021-12-08T18:04:35.293" v="2045" actId="313"/>
          <ac:spMkLst>
            <pc:docMk/>
            <pc:sldMk cId="2703168349" sldId="2147378089"/>
            <ac:spMk id="30" creationId="{2125D8B3-FC95-409F-B1E1-F1057A801912}"/>
          </ac:spMkLst>
        </pc:spChg>
        <pc:spChg chg="add mod">
          <ac:chgData name="Ekaterina Veselkova" userId="5ed5cb5c-b82d-4261-a35d-9158526644a8" providerId="ADAL" clId="{A8881072-A303-41E8-9B70-DFBB4CE55F14}" dt="2021-12-08T18:01:18.653" v="1983" actId="688"/>
          <ac:spMkLst>
            <pc:docMk/>
            <pc:sldMk cId="2703168349" sldId="2147378089"/>
            <ac:spMk id="39" creationId="{2F90E68B-2C9E-43FE-9B6B-1D201965F8E2}"/>
          </ac:spMkLst>
        </pc:spChg>
        <pc:spChg chg="add mod">
          <ac:chgData name="Ekaterina Veselkova" userId="5ed5cb5c-b82d-4261-a35d-9158526644a8" providerId="ADAL" clId="{A8881072-A303-41E8-9B70-DFBB4CE55F14}" dt="2021-12-08T17:59:01.718" v="1898" actId="1076"/>
          <ac:spMkLst>
            <pc:docMk/>
            <pc:sldMk cId="2703168349" sldId="2147378089"/>
            <ac:spMk id="40" creationId="{B0920C4D-DE71-4984-A2F8-A84E6F1A5FDE}"/>
          </ac:spMkLst>
        </pc:spChg>
        <pc:spChg chg="add mod">
          <ac:chgData name="Ekaterina Veselkova" userId="5ed5cb5c-b82d-4261-a35d-9158526644a8" providerId="ADAL" clId="{A8881072-A303-41E8-9B70-DFBB4CE55F14}" dt="2021-12-08T17:59:01.718" v="1898" actId="1076"/>
          <ac:spMkLst>
            <pc:docMk/>
            <pc:sldMk cId="2703168349" sldId="2147378089"/>
            <ac:spMk id="41" creationId="{216F1F27-B0EC-4258-A572-5655E0928C9F}"/>
          </ac:spMkLst>
        </pc:spChg>
        <pc:spChg chg="add mod">
          <ac:chgData name="Ekaterina Veselkova" userId="5ed5cb5c-b82d-4261-a35d-9158526644a8" providerId="ADAL" clId="{A8881072-A303-41E8-9B70-DFBB4CE55F14}" dt="2021-12-08T17:59:58.458" v="1903" actId="1076"/>
          <ac:spMkLst>
            <pc:docMk/>
            <pc:sldMk cId="2703168349" sldId="2147378089"/>
            <ac:spMk id="42" creationId="{6E751B52-79A0-488D-8BAD-97CC5C3EC2C1}"/>
          </ac:spMkLst>
        </pc:spChg>
        <pc:spChg chg="add mod">
          <ac:chgData name="Ekaterina Veselkova" userId="5ed5cb5c-b82d-4261-a35d-9158526644a8" providerId="ADAL" clId="{A8881072-A303-41E8-9B70-DFBB4CE55F14}" dt="2021-12-08T18:00:59.833" v="1981" actId="5793"/>
          <ac:spMkLst>
            <pc:docMk/>
            <pc:sldMk cId="2703168349" sldId="2147378089"/>
            <ac:spMk id="43" creationId="{7CCC6435-88C5-46E6-B66E-0FD37654A92F}"/>
          </ac:spMkLst>
        </pc:spChg>
        <pc:spChg chg="add mod">
          <ac:chgData name="Ekaterina Veselkova" userId="5ed5cb5c-b82d-4261-a35d-9158526644a8" providerId="ADAL" clId="{A8881072-A303-41E8-9B70-DFBB4CE55F14}" dt="2021-12-08T18:00:55.222" v="1977" actId="1076"/>
          <ac:spMkLst>
            <pc:docMk/>
            <pc:sldMk cId="2703168349" sldId="2147378089"/>
            <ac:spMk id="44" creationId="{9C0A4192-EAAA-4266-881A-3336B25D5C3A}"/>
          </ac:spMkLst>
        </pc:spChg>
        <pc:spChg chg="add mod">
          <ac:chgData name="Ekaterina Veselkova" userId="5ed5cb5c-b82d-4261-a35d-9158526644a8" providerId="ADAL" clId="{A8881072-A303-41E8-9B70-DFBB4CE55F14}" dt="2021-12-08T18:03:01.792" v="1995" actId="1076"/>
          <ac:spMkLst>
            <pc:docMk/>
            <pc:sldMk cId="2703168349" sldId="2147378089"/>
            <ac:spMk id="47" creationId="{5FDE6194-E547-4D15-AF04-C4BE28E8344B}"/>
          </ac:spMkLst>
        </pc:spChg>
        <pc:spChg chg="add mod">
          <ac:chgData name="Ekaterina Veselkova" userId="5ed5cb5c-b82d-4261-a35d-9158526644a8" providerId="ADAL" clId="{A8881072-A303-41E8-9B70-DFBB4CE55F14}" dt="2021-12-08T18:03:33.526" v="2007" actId="20577"/>
          <ac:spMkLst>
            <pc:docMk/>
            <pc:sldMk cId="2703168349" sldId="2147378089"/>
            <ac:spMk id="48" creationId="{CE46C666-A936-4403-9B6A-C41241469582}"/>
          </ac:spMkLst>
        </pc:spChg>
        <pc:spChg chg="add mod">
          <ac:chgData name="Ekaterina Veselkova" userId="5ed5cb5c-b82d-4261-a35d-9158526644a8" providerId="ADAL" clId="{A8881072-A303-41E8-9B70-DFBB4CE55F14}" dt="2021-12-08T18:03:38.353" v="2011" actId="20577"/>
          <ac:spMkLst>
            <pc:docMk/>
            <pc:sldMk cId="2703168349" sldId="2147378089"/>
            <ac:spMk id="49" creationId="{6F5C4D57-40F0-443B-A4EB-F6417282178D}"/>
          </ac:spMkLst>
        </pc:spChg>
        <pc:spChg chg="add mod">
          <ac:chgData name="Ekaterina Veselkova" userId="5ed5cb5c-b82d-4261-a35d-9158526644a8" providerId="ADAL" clId="{A8881072-A303-41E8-9B70-DFBB4CE55F14}" dt="2021-12-08T18:03:43.819" v="2013" actId="20577"/>
          <ac:spMkLst>
            <pc:docMk/>
            <pc:sldMk cId="2703168349" sldId="2147378089"/>
            <ac:spMk id="50" creationId="{D5B315CB-3C9F-4853-AA75-B8D109197992}"/>
          </ac:spMkLst>
        </pc:spChg>
        <pc:spChg chg="add mod">
          <ac:chgData name="Ekaterina Veselkova" userId="5ed5cb5c-b82d-4261-a35d-9158526644a8" providerId="ADAL" clId="{A8881072-A303-41E8-9B70-DFBB4CE55F14}" dt="2021-12-08T18:03:48.028" v="2015" actId="20577"/>
          <ac:spMkLst>
            <pc:docMk/>
            <pc:sldMk cId="2703168349" sldId="2147378089"/>
            <ac:spMk id="51" creationId="{A82D0E24-27BF-4F08-A798-19DB6D37619D}"/>
          </ac:spMkLst>
        </pc:spChg>
        <pc:spChg chg="add mod">
          <ac:chgData name="Ekaterina Veselkova" userId="5ed5cb5c-b82d-4261-a35d-9158526644a8" providerId="ADAL" clId="{A8881072-A303-41E8-9B70-DFBB4CE55F14}" dt="2021-12-08T18:05:06.961" v="2069" actId="1076"/>
          <ac:spMkLst>
            <pc:docMk/>
            <pc:sldMk cId="2703168349" sldId="2147378089"/>
            <ac:spMk id="52" creationId="{B90F49B7-F7F1-4190-BF92-F7F550AC92EB}"/>
          </ac:spMkLst>
        </pc:spChg>
        <pc:grpChg chg="add mod">
          <ac:chgData name="Ekaterina Veselkova" userId="5ed5cb5c-b82d-4261-a35d-9158526644a8" providerId="ADAL" clId="{A8881072-A303-41E8-9B70-DFBB4CE55F14}" dt="2021-12-08T17:35:25.300" v="1619" actId="164"/>
          <ac:grpSpMkLst>
            <pc:docMk/>
            <pc:sldMk cId="2703168349" sldId="2147378089"/>
            <ac:grpSpMk id="15" creationId="{CA84F241-20A4-4CDA-936A-75DFD80FD82E}"/>
          </ac:grpSpMkLst>
        </pc:grpChg>
        <pc:picChg chg="del mod">
          <ac:chgData name="Ekaterina Veselkova" userId="5ed5cb5c-b82d-4261-a35d-9158526644a8" providerId="ADAL" clId="{A8881072-A303-41E8-9B70-DFBB4CE55F14}" dt="2021-12-08T18:06:09.870" v="2085" actId="478"/>
          <ac:picMkLst>
            <pc:docMk/>
            <pc:sldMk cId="2703168349" sldId="2147378089"/>
            <ac:picMk id="2" creationId="{AC1D2DDD-749B-42F6-87DF-E128627F5B4E}"/>
          </ac:picMkLst>
        </pc:picChg>
        <pc:picChg chg="mod">
          <ac:chgData name="Ekaterina Veselkova" userId="5ed5cb5c-b82d-4261-a35d-9158526644a8" providerId="ADAL" clId="{A8881072-A303-41E8-9B70-DFBB4CE55F14}" dt="2021-12-08T17:59:01.718" v="1898" actId="1076"/>
          <ac:picMkLst>
            <pc:docMk/>
            <pc:sldMk cId="2703168349" sldId="2147378089"/>
            <ac:picMk id="3" creationId="{1745A371-7FF8-4EE3-9F61-1F4F6554BD68}"/>
          </ac:picMkLst>
        </pc:picChg>
        <pc:picChg chg="del">
          <ac:chgData name="Ekaterina Veselkova" userId="5ed5cb5c-b82d-4261-a35d-9158526644a8" providerId="ADAL" clId="{A8881072-A303-41E8-9B70-DFBB4CE55F14}" dt="2021-12-08T17:30:19.682" v="1593" actId="478"/>
          <ac:picMkLst>
            <pc:docMk/>
            <pc:sldMk cId="2703168349" sldId="2147378089"/>
            <ac:picMk id="4" creationId="{537BB24B-3223-4FAF-9D8C-5E93CCF45B26}"/>
          </ac:picMkLst>
        </pc:picChg>
        <pc:picChg chg="add mod">
          <ac:chgData name="Ekaterina Veselkova" userId="5ed5cb5c-b82d-4261-a35d-9158526644a8" providerId="ADAL" clId="{A8881072-A303-41E8-9B70-DFBB4CE55F14}" dt="2021-12-08T18:16:01.193" v="2109" actId="1076"/>
          <ac:picMkLst>
            <pc:docMk/>
            <pc:sldMk cId="2703168349" sldId="2147378089"/>
            <ac:picMk id="53" creationId="{125E7566-877D-4B02-B4A9-9728EF326B08}"/>
          </ac:picMkLst>
        </pc:picChg>
        <pc:cxnChg chg="add del mod">
          <ac:chgData name="Ekaterina Veselkova" userId="5ed5cb5c-b82d-4261-a35d-9158526644a8" providerId="ADAL" clId="{A8881072-A303-41E8-9B70-DFBB4CE55F14}" dt="2021-12-08T17:40:58.197" v="1641" actId="478"/>
          <ac:cxnSpMkLst>
            <pc:docMk/>
            <pc:sldMk cId="2703168349" sldId="2147378089"/>
            <ac:cxnSpMk id="10" creationId="{22E80B4F-AF5F-4BEF-B58A-5048E01FF148}"/>
          </ac:cxnSpMkLst>
        </pc:cxnChg>
        <pc:cxnChg chg="add mod">
          <ac:chgData name="Ekaterina Veselkova" userId="5ed5cb5c-b82d-4261-a35d-9158526644a8" providerId="ADAL" clId="{A8881072-A303-41E8-9B70-DFBB4CE55F14}" dt="2021-12-08T17:59:01.718" v="1898" actId="1076"/>
          <ac:cxnSpMkLst>
            <pc:docMk/>
            <pc:sldMk cId="2703168349" sldId="2147378089"/>
            <ac:cxnSpMk id="19" creationId="{D01174FE-FAA3-4201-807C-C23B4DD5A20D}"/>
          </ac:cxnSpMkLst>
        </pc:cxnChg>
        <pc:cxnChg chg="add mod">
          <ac:chgData name="Ekaterina Veselkova" userId="5ed5cb5c-b82d-4261-a35d-9158526644a8" providerId="ADAL" clId="{A8881072-A303-41E8-9B70-DFBB4CE55F14}" dt="2021-12-08T17:59:01.718" v="1898" actId="1076"/>
          <ac:cxnSpMkLst>
            <pc:docMk/>
            <pc:sldMk cId="2703168349" sldId="2147378089"/>
            <ac:cxnSpMk id="21" creationId="{B2C15ECA-71CC-455B-9B81-DF95E7CFE3EF}"/>
          </ac:cxnSpMkLst>
        </pc:cxnChg>
        <pc:cxnChg chg="add mod">
          <ac:chgData name="Ekaterina Veselkova" userId="5ed5cb5c-b82d-4261-a35d-9158526644a8" providerId="ADAL" clId="{A8881072-A303-41E8-9B70-DFBB4CE55F14}" dt="2021-12-08T17:59:01.718" v="1898" actId="1076"/>
          <ac:cxnSpMkLst>
            <pc:docMk/>
            <pc:sldMk cId="2703168349" sldId="2147378089"/>
            <ac:cxnSpMk id="22" creationId="{79B01F96-42C7-42A4-9411-C1884445448E}"/>
          </ac:cxnSpMkLst>
        </pc:cxnChg>
        <pc:cxnChg chg="add del mod">
          <ac:chgData name="Ekaterina Veselkova" userId="5ed5cb5c-b82d-4261-a35d-9158526644a8" providerId="ADAL" clId="{A8881072-A303-41E8-9B70-DFBB4CE55F14}" dt="2021-12-08T17:42:35.098" v="1653" actId="478"/>
          <ac:cxnSpMkLst>
            <pc:docMk/>
            <pc:sldMk cId="2703168349" sldId="2147378089"/>
            <ac:cxnSpMk id="24" creationId="{26EB2031-9F19-42FB-825A-5AC6626DB5D0}"/>
          </ac:cxnSpMkLst>
        </pc:cxnChg>
        <pc:cxnChg chg="add del mod">
          <ac:chgData name="Ekaterina Veselkova" userId="5ed5cb5c-b82d-4261-a35d-9158526644a8" providerId="ADAL" clId="{A8881072-A303-41E8-9B70-DFBB4CE55F14}" dt="2021-12-08T17:42:31.854" v="1652" actId="478"/>
          <ac:cxnSpMkLst>
            <pc:docMk/>
            <pc:sldMk cId="2703168349" sldId="2147378089"/>
            <ac:cxnSpMk id="27" creationId="{5A8F2000-BC1D-4ED8-9C91-A119048CD2C9}"/>
          </ac:cxnSpMkLst>
        </pc:cxnChg>
        <pc:cxnChg chg="add mod">
          <ac:chgData name="Ekaterina Veselkova" userId="5ed5cb5c-b82d-4261-a35d-9158526644a8" providerId="ADAL" clId="{A8881072-A303-41E8-9B70-DFBB4CE55F14}" dt="2021-12-08T18:04:00.344" v="2016" actId="1076"/>
          <ac:cxnSpMkLst>
            <pc:docMk/>
            <pc:sldMk cId="2703168349" sldId="2147378089"/>
            <ac:cxnSpMk id="31" creationId="{F8CD19DB-7030-4854-86E7-B807DE699AC5}"/>
          </ac:cxnSpMkLst>
        </pc:cxnChg>
        <pc:cxnChg chg="add del mod">
          <ac:chgData name="Ekaterina Veselkova" userId="5ed5cb5c-b82d-4261-a35d-9158526644a8" providerId="ADAL" clId="{A8881072-A303-41E8-9B70-DFBB4CE55F14}" dt="2021-12-08T17:46:58.145" v="1667"/>
          <ac:cxnSpMkLst>
            <pc:docMk/>
            <pc:sldMk cId="2703168349" sldId="2147378089"/>
            <ac:cxnSpMk id="34" creationId="{DC92357C-3870-45F6-B002-6A306C819A51}"/>
          </ac:cxnSpMkLst>
        </pc:cxnChg>
        <pc:cxnChg chg="add mod">
          <ac:chgData name="Ekaterina Veselkova" userId="5ed5cb5c-b82d-4261-a35d-9158526644a8" providerId="ADAL" clId="{A8881072-A303-41E8-9B70-DFBB4CE55F14}" dt="2021-12-08T17:59:01.718" v="1898" actId="1076"/>
          <ac:cxnSpMkLst>
            <pc:docMk/>
            <pc:sldMk cId="2703168349" sldId="2147378089"/>
            <ac:cxnSpMk id="35" creationId="{5C4C4375-41C1-4398-A6B8-6A4092DF4AC9}"/>
          </ac:cxnSpMkLst>
        </pc:cxnChg>
        <pc:cxnChg chg="add mod">
          <ac:chgData name="Ekaterina Veselkova" userId="5ed5cb5c-b82d-4261-a35d-9158526644a8" providerId="ADAL" clId="{A8881072-A303-41E8-9B70-DFBB4CE55F14}" dt="2021-12-08T18:01:15.266" v="1982" actId="1076"/>
          <ac:cxnSpMkLst>
            <pc:docMk/>
            <pc:sldMk cId="2703168349" sldId="2147378089"/>
            <ac:cxnSpMk id="37" creationId="{CD29F01C-B973-4A6A-875F-DC0B4836CF3B}"/>
          </ac:cxnSpMkLst>
        </pc:cxnChg>
        <pc:cxnChg chg="add mod">
          <ac:chgData name="Ekaterina Veselkova" userId="5ed5cb5c-b82d-4261-a35d-9158526644a8" providerId="ADAL" clId="{A8881072-A303-41E8-9B70-DFBB4CE55F14}" dt="2021-12-08T19:48:18.750" v="3176" actId="1582"/>
          <ac:cxnSpMkLst>
            <pc:docMk/>
            <pc:sldMk cId="2703168349" sldId="2147378089"/>
            <ac:cxnSpMk id="46" creationId="{4CEAA92E-7FD5-4095-B619-4F338646C4DB}"/>
          </ac:cxnSpMkLst>
        </pc:cxnChg>
      </pc:sldChg>
      <pc:sldChg chg="addSp delSp modSp add del mod">
        <pc:chgData name="Ekaterina Veselkova" userId="5ed5cb5c-b82d-4261-a35d-9158526644a8" providerId="ADAL" clId="{A8881072-A303-41E8-9B70-DFBB4CE55F14}" dt="2021-12-08T19:17:56.304" v="2676" actId="47"/>
        <pc:sldMkLst>
          <pc:docMk/>
          <pc:sldMk cId="2583971248" sldId="2147378090"/>
        </pc:sldMkLst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1" creationId="{206C5A50-BD7A-4505-9215-A7322B299323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2" creationId="{C56665A1-8AE5-484E-AA0D-3FBE07F2D89F}"/>
          </ac:spMkLst>
        </pc:spChg>
        <pc:spChg chg="del">
          <ac:chgData name="Ekaterina Veselkova" userId="5ed5cb5c-b82d-4261-a35d-9158526644a8" providerId="ADAL" clId="{A8881072-A303-41E8-9B70-DFBB4CE55F14}" dt="2021-12-08T18:22:25.054" v="2112" actId="478"/>
          <ac:spMkLst>
            <pc:docMk/>
            <pc:sldMk cId="2583971248" sldId="2147378090"/>
            <ac:spMk id="13" creationId="{A4FEDAE8-8A78-4057-B0E8-0B4F3C14CFB7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4" creationId="{9783CE10-501C-475F-ACFD-AB56F43E7FB6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5" creationId="{80D3452A-F6C7-48C4-825E-A92C7458581E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6" creationId="{B0353BFC-E148-4A47-887D-D5529EE9C1AB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7" creationId="{97C6060F-0D0B-4AC1-A368-B87FC7B631BB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8" creationId="{664633FD-8172-42AE-9775-4CE7E8956279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19" creationId="{67D3DCF2-52F8-4062-AB3C-C91B9FE0FA86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20" creationId="{B906D72E-686D-4F25-9E94-DB24CA97EB0F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21" creationId="{303A7B04-D16B-44A8-AA46-076726ED9A4C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22" creationId="{677ED90B-6E5C-4294-BD53-BF5853DE4657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23" creationId="{75890D8E-3152-401E-80D4-0025BC7C6A4C}"/>
          </ac:spMkLst>
        </pc:spChg>
        <pc:spChg chg="add del mod">
          <ac:chgData name="Ekaterina Veselkova" userId="5ed5cb5c-b82d-4261-a35d-9158526644a8" providerId="ADAL" clId="{A8881072-A303-41E8-9B70-DFBB4CE55F14}" dt="2021-12-08T18:26:50.476" v="2137"/>
          <ac:spMkLst>
            <pc:docMk/>
            <pc:sldMk cId="2583971248" sldId="2147378090"/>
            <ac:spMk id="24" creationId="{53665617-D566-4B38-B27A-9EC1B6DC3CBE}"/>
          </ac:spMkLst>
        </pc:spChg>
        <pc:spChg chg="add del mod">
          <ac:chgData name="Ekaterina Veselkova" userId="5ed5cb5c-b82d-4261-a35d-9158526644a8" providerId="ADAL" clId="{A8881072-A303-41E8-9B70-DFBB4CE55F14}" dt="2021-12-08T18:50:47.110" v="2359" actId="478"/>
          <ac:spMkLst>
            <pc:docMk/>
            <pc:sldMk cId="2583971248" sldId="2147378090"/>
            <ac:spMk id="25" creationId="{FDC2167E-014E-4D18-9071-23C8F374EBFA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26" creationId="{B86890F3-7E42-4D4F-9198-F51262165DD9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27" creationId="{1567F0F6-66CE-4943-B683-4DB47AAA5D81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28" creationId="{18DBA450-D260-4D0E-9550-D8A730926119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29" creationId="{C6509762-211B-4A63-B87D-BAB3109FEDA6}"/>
          </ac:spMkLst>
        </pc:spChg>
        <pc:spChg chg="mod">
          <ac:chgData name="Ekaterina Veselkova" userId="5ed5cb5c-b82d-4261-a35d-9158526644a8" providerId="ADAL" clId="{A8881072-A303-41E8-9B70-DFBB4CE55F14}" dt="2021-12-08T18:22:36.100" v="2135" actId="20577"/>
          <ac:spMkLst>
            <pc:docMk/>
            <pc:sldMk cId="2583971248" sldId="2147378090"/>
            <ac:spMk id="30" creationId="{2125D8B3-FC95-409F-B1E1-F1057A801912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1" creationId="{A4E01709-B930-4BD0-88C3-39A4CFB68354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2" creationId="{F4AB86FB-E5A4-41C6-A89B-5CD86921F953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3" creationId="{AF59B4E7-C303-4F2E-A2D5-BEF42BBC84D3}"/>
          </ac:spMkLst>
        </pc:spChg>
        <pc:spChg chg="add del mod">
          <ac:chgData name="Ekaterina Veselkova" userId="5ed5cb5c-b82d-4261-a35d-9158526644a8" providerId="ADAL" clId="{A8881072-A303-41E8-9B70-DFBB4CE55F14}" dt="2021-12-08T18:50:47.110" v="2359" actId="478"/>
          <ac:spMkLst>
            <pc:docMk/>
            <pc:sldMk cId="2583971248" sldId="2147378090"/>
            <ac:spMk id="34" creationId="{084500CE-FEDB-42F8-9993-A5619755443E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5" creationId="{51306C43-6939-41B4-A10A-4AC52E2D10D0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6" creationId="{E6F709E9-E1DF-4A3F-8DFC-A798BC541C89}"/>
          </ac:spMkLst>
        </pc:spChg>
        <pc:spChg chg="add del mod">
          <ac:chgData name="Ekaterina Veselkova" userId="5ed5cb5c-b82d-4261-a35d-9158526644a8" providerId="ADAL" clId="{A8881072-A303-41E8-9B70-DFBB4CE55F14}" dt="2021-12-08T18:50:43.981" v="2358" actId="478"/>
          <ac:spMkLst>
            <pc:docMk/>
            <pc:sldMk cId="2583971248" sldId="2147378090"/>
            <ac:spMk id="37" creationId="{4A0AD254-F2D2-4677-89E8-E12A9CC45D17}"/>
          </ac:spMkLst>
        </pc:spChg>
        <pc:spChg chg="add del mod">
          <ac:chgData name="Ekaterina Veselkova" userId="5ed5cb5c-b82d-4261-a35d-9158526644a8" providerId="ADAL" clId="{A8881072-A303-41E8-9B70-DFBB4CE55F14}" dt="2021-12-08T18:50:47.110" v="2359" actId="478"/>
          <ac:spMkLst>
            <pc:docMk/>
            <pc:sldMk cId="2583971248" sldId="2147378090"/>
            <ac:spMk id="38" creationId="{34A8B6B7-3E08-4AAA-871C-58359D457765}"/>
          </ac:spMkLst>
        </pc:spChg>
        <pc:spChg chg="add mod">
          <ac:chgData name="Ekaterina Veselkova" userId="5ed5cb5c-b82d-4261-a35d-9158526644a8" providerId="ADAL" clId="{A8881072-A303-41E8-9B70-DFBB4CE55F14}" dt="2021-12-08T18:30:07.639" v="2197" actId="313"/>
          <ac:spMkLst>
            <pc:docMk/>
            <pc:sldMk cId="2583971248" sldId="2147378090"/>
            <ac:spMk id="39" creationId="{91E2CAD3-A21F-4ADF-84FA-F26486070747}"/>
          </ac:spMkLst>
        </pc:spChg>
        <pc:picChg chg="del">
          <ac:chgData name="Ekaterina Veselkova" userId="5ed5cb5c-b82d-4261-a35d-9158526644a8" providerId="ADAL" clId="{A8881072-A303-41E8-9B70-DFBB4CE55F14}" dt="2021-12-08T18:50:47.110" v="2359" actId="478"/>
          <ac:picMkLst>
            <pc:docMk/>
            <pc:sldMk cId="2583971248" sldId="2147378090"/>
            <ac:picMk id="3" creationId="{1745A371-7FF8-4EE3-9F61-1F4F6554BD68}"/>
          </ac:picMkLst>
        </pc:picChg>
        <pc:picChg chg="del">
          <ac:chgData name="Ekaterina Veselkova" userId="5ed5cb5c-b82d-4261-a35d-9158526644a8" providerId="ADAL" clId="{A8881072-A303-41E8-9B70-DFBB4CE55F14}" dt="2021-12-08T18:22:22.846" v="2111" actId="478"/>
          <ac:picMkLst>
            <pc:docMk/>
            <pc:sldMk cId="2583971248" sldId="2147378090"/>
            <ac:picMk id="4" creationId="{537BB24B-3223-4FAF-9D8C-5E93CCF45B26}"/>
          </ac:picMkLst>
        </pc:picChg>
        <pc:picChg chg="del">
          <ac:chgData name="Ekaterina Veselkova" userId="5ed5cb5c-b82d-4261-a35d-9158526644a8" providerId="ADAL" clId="{A8881072-A303-41E8-9B70-DFBB4CE55F14}" dt="2021-12-08T18:22:26.706" v="2113" actId="478"/>
          <ac:picMkLst>
            <pc:docMk/>
            <pc:sldMk cId="2583971248" sldId="2147378090"/>
            <ac:picMk id="8" creationId="{CAE0D1A7-E015-4EBF-9A50-23AD8DB7B664}"/>
          </ac:picMkLst>
        </pc:picChg>
        <pc:picChg chg="del">
          <ac:chgData name="Ekaterina Veselkova" userId="5ed5cb5c-b82d-4261-a35d-9158526644a8" providerId="ADAL" clId="{A8881072-A303-41E8-9B70-DFBB4CE55F14}" dt="2021-12-08T18:50:47.110" v="2359" actId="478"/>
          <ac:picMkLst>
            <pc:docMk/>
            <pc:sldMk cId="2583971248" sldId="2147378090"/>
            <ac:picMk id="10" creationId="{CA4CA6F9-0271-471A-863A-E39CF1D638C2}"/>
          </ac:picMkLst>
        </pc:picChg>
      </pc:sldChg>
      <pc:sldChg chg="addSp modSp add del">
        <pc:chgData name="Ekaterina Veselkova" userId="5ed5cb5c-b82d-4261-a35d-9158526644a8" providerId="ADAL" clId="{A8881072-A303-41E8-9B70-DFBB4CE55F14}" dt="2021-12-08T19:45:46.848" v="3165" actId="2696"/>
        <pc:sldMkLst>
          <pc:docMk/>
          <pc:sldMk cId="1594106279" sldId="2147378091"/>
        </pc:sldMkLst>
        <pc:picChg chg="add mod">
          <ac:chgData name="Ekaterina Veselkova" userId="5ed5cb5c-b82d-4261-a35d-9158526644a8" providerId="ADAL" clId="{A8881072-A303-41E8-9B70-DFBB4CE55F14}" dt="2021-12-08T19:32:36.728" v="2964"/>
          <ac:picMkLst>
            <pc:docMk/>
            <pc:sldMk cId="1594106279" sldId="2147378091"/>
            <ac:picMk id="21" creationId="{FD96CFEC-6CB1-4CD8-A894-F8DE703DE362}"/>
          </ac:picMkLst>
        </pc:picChg>
      </pc:sldChg>
      <pc:sldChg chg="add del">
        <pc:chgData name="Ekaterina Veselkova" userId="5ed5cb5c-b82d-4261-a35d-9158526644a8" providerId="ADAL" clId="{A8881072-A303-41E8-9B70-DFBB4CE55F14}" dt="2021-12-08T21:30:14.524" v="3294" actId="47"/>
        <pc:sldMkLst>
          <pc:docMk/>
          <pc:sldMk cId="2240124651" sldId="2147378091"/>
        </pc:sldMkLst>
      </pc:sldChg>
      <pc:sldChg chg="add del">
        <pc:chgData name="Ekaterina Veselkova" userId="5ed5cb5c-b82d-4261-a35d-9158526644a8" providerId="ADAL" clId="{A8881072-A303-41E8-9B70-DFBB4CE55F14}" dt="2021-12-08T19:45:40.862" v="3163"/>
        <pc:sldMkLst>
          <pc:docMk/>
          <pc:sldMk cId="4245974284" sldId="2147378091"/>
        </pc:sldMkLst>
      </pc:sldChg>
      <pc:sldChg chg="addSp delSp modSp add mod">
        <pc:chgData name="Ekaterina Veselkova" userId="5ed5cb5c-b82d-4261-a35d-9158526644a8" providerId="ADAL" clId="{A8881072-A303-41E8-9B70-DFBB4CE55F14}" dt="2021-12-08T19:45:18.523" v="3159" actId="20577"/>
        <pc:sldMkLst>
          <pc:docMk/>
          <pc:sldMk cId="967033725" sldId="2147378092"/>
        </pc:sldMkLst>
        <pc:spChg chg="del">
          <ac:chgData name="Ekaterina Veselkova" userId="5ed5cb5c-b82d-4261-a35d-9158526644a8" providerId="ADAL" clId="{A8881072-A303-41E8-9B70-DFBB4CE55F14}" dt="2021-12-08T19:40:43.167" v="3028" actId="478"/>
          <ac:spMkLst>
            <pc:docMk/>
            <pc:sldMk cId="967033725" sldId="2147378092"/>
            <ac:spMk id="5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25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27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28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29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30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33" creationId="{00000000-0000-0000-0000-000000000000}"/>
          </ac:spMkLst>
        </pc:spChg>
        <pc:spChg chg="mod">
          <ac:chgData name="Ekaterina Veselkova" userId="5ed5cb5c-b82d-4261-a35d-9158526644a8" providerId="ADAL" clId="{A8881072-A303-41E8-9B70-DFBB4CE55F14}" dt="2021-12-08T19:45:18.523" v="3159" actId="20577"/>
          <ac:spMkLst>
            <pc:docMk/>
            <pc:sldMk cId="967033725" sldId="2147378092"/>
            <ac:spMk id="46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5.974" v="3014" actId="478"/>
          <ac:spMkLst>
            <pc:docMk/>
            <pc:sldMk cId="967033725" sldId="2147378092"/>
            <ac:spMk id="49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50" creationId="{00000000-0000-0000-0000-000000000000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83" creationId="{C20DC9F8-4476-4544-90B7-F172F569CF63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3" creationId="{59BC95BA-5CEE-4092-BEBF-704F9FBFF96E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4" creationId="{3BFD0E0A-E57F-4A50-95C3-87E0ACAE3530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5" creationId="{A4DF3262-BE1D-417D-AEC2-A9D50A549657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6" creationId="{55E9D29B-5495-456E-AEEA-E70E2204660D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7" creationId="{60AF993D-22F5-433D-B626-0A1B029A0213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8" creationId="{6F1490FE-E947-48D1-8C49-6349D79B1E6B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99" creationId="{0DC960E5-97BE-44B3-9437-774AF5B21F9A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0" creationId="{929F227F-F263-4EE1-98C8-D0C4998F8847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1" creationId="{B5C3C6B4-60EB-4FFB-8B6C-9C9C455ED074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2" creationId="{B72FA2A8-F15B-4506-8BF0-1AFC00E783D1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3" creationId="{AC253220-1AEC-4C4E-B332-E1F2F3913D1F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4" creationId="{C239B1C5-09FD-4362-8F46-DDD57A362C02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5" creationId="{423DA6C8-DCBB-4AA1-873E-FB0D5BCBB989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6" creationId="{F27E1166-3971-4420-A648-99208EA07C83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7" creationId="{3BE37F59-253B-4BE3-8761-5D8F469922D8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09" creationId="{AFD50ACD-06A6-4144-8D1F-A1AE446FBD66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10" creationId="{83A9FCC0-5107-4C05-B1C6-F3FA8B80D041}"/>
          </ac:spMkLst>
        </pc:spChg>
        <pc:spChg chg="del">
          <ac:chgData name="Ekaterina Veselkova" userId="5ed5cb5c-b82d-4261-a35d-9158526644a8" providerId="ADAL" clId="{A8881072-A303-41E8-9B70-DFBB4CE55F14}" dt="2021-12-08T19:33:50.236" v="3016" actId="478"/>
          <ac:spMkLst>
            <pc:docMk/>
            <pc:sldMk cId="967033725" sldId="2147378092"/>
            <ac:spMk id="111" creationId="{6D150B15-4BE4-4AD4-AE0C-E70F48430CE5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112" creationId="{D0D69887-77C5-45DA-A709-ADA789227C01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113" creationId="{E97CD415-EF1C-465A-A137-0C3AD12C4D71}"/>
          </ac:spMkLst>
        </pc:spChg>
        <pc:spChg chg="del">
          <ac:chgData name="Ekaterina Veselkova" userId="5ed5cb5c-b82d-4261-a35d-9158526644a8" providerId="ADAL" clId="{A8881072-A303-41E8-9B70-DFBB4CE55F14}" dt="2021-12-08T19:33:48.395" v="3015" actId="478"/>
          <ac:spMkLst>
            <pc:docMk/>
            <pc:sldMk cId="967033725" sldId="2147378092"/>
            <ac:spMk id="114" creationId="{30DAC23A-E495-4A22-BB29-D7BC41934B5F}"/>
          </ac:spMkLst>
        </pc:spChg>
        <pc:grpChg chg="del">
          <ac:chgData name="Ekaterina Veselkova" userId="5ed5cb5c-b82d-4261-a35d-9158526644a8" providerId="ADAL" clId="{A8881072-A303-41E8-9B70-DFBB4CE55F14}" dt="2021-12-08T19:33:50.236" v="3016" actId="478"/>
          <ac:grpSpMkLst>
            <pc:docMk/>
            <pc:sldMk cId="967033725" sldId="2147378092"/>
            <ac:grpSpMk id="84" creationId="{D6F46E3C-5846-4BA0-8501-5666CE6107E4}"/>
          </ac:grpSpMkLst>
        </pc:grpChg>
        <pc:picChg chg="add del mod">
          <ac:chgData name="Ekaterina Veselkova" userId="5ed5cb5c-b82d-4261-a35d-9158526644a8" providerId="ADAL" clId="{A8881072-A303-41E8-9B70-DFBB4CE55F14}" dt="2021-12-08T19:39:27.046" v="3022" actId="478"/>
          <ac:picMkLst>
            <pc:docMk/>
            <pc:sldMk cId="967033725" sldId="2147378092"/>
            <ac:picMk id="4" creationId="{4DC1C75C-87C8-4CD5-87F4-23D8AD4F64CF}"/>
          </ac:picMkLst>
        </pc:picChg>
        <pc:picChg chg="add mod">
          <ac:chgData name="Ekaterina Veselkova" userId="5ed5cb5c-b82d-4261-a35d-9158526644a8" providerId="ADAL" clId="{A8881072-A303-41E8-9B70-DFBB4CE55F14}" dt="2021-12-08T19:40:36.471" v="3027" actId="1076"/>
          <ac:picMkLst>
            <pc:docMk/>
            <pc:sldMk cId="967033725" sldId="2147378092"/>
            <ac:picMk id="7" creationId="{0EEB4CB4-A98B-4EA3-A322-A50FDD4C4A1E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16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17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31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32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43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44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47" creationId="{00000000-0000-0000-0000-000000000000}"/>
          </ac:picMkLst>
        </pc:picChg>
        <pc:picChg chg="del">
          <ac:chgData name="Ekaterina Veselkova" userId="5ed5cb5c-b82d-4261-a35d-9158526644a8" providerId="ADAL" clId="{A8881072-A303-41E8-9B70-DFBB4CE55F14}" dt="2021-12-08T19:33:48.395" v="3015" actId="478"/>
          <ac:picMkLst>
            <pc:docMk/>
            <pc:sldMk cId="967033725" sldId="2147378092"/>
            <ac:picMk id="48" creationId="{00000000-0000-0000-0000-000000000000}"/>
          </ac:picMkLst>
        </pc:picChg>
        <pc:picChg chg="mod">
          <ac:chgData name="Ekaterina Veselkova" userId="5ed5cb5c-b82d-4261-a35d-9158526644a8" providerId="ADAL" clId="{A8881072-A303-41E8-9B70-DFBB4CE55F14}" dt="2021-12-08T19:38:57.280" v="3021" actId="1076"/>
          <ac:picMkLst>
            <pc:docMk/>
            <pc:sldMk cId="967033725" sldId="2147378092"/>
            <ac:picMk id="115" creationId="{785095C2-2D90-4D7F-B085-8F1604837857}"/>
          </ac:picMkLst>
        </pc:picChg>
        <pc:cxnChg chg="del">
          <ac:chgData name="Ekaterina Veselkova" userId="5ed5cb5c-b82d-4261-a35d-9158526644a8" providerId="ADAL" clId="{A8881072-A303-41E8-9B70-DFBB4CE55F14}" dt="2021-12-08T19:33:48.395" v="3015" actId="478"/>
          <ac:cxnSpMkLst>
            <pc:docMk/>
            <pc:sldMk cId="967033725" sldId="2147378092"/>
            <ac:cxnSpMk id="3" creationId="{00000000-0000-0000-0000-000000000000}"/>
          </ac:cxnSpMkLst>
        </pc:cxnChg>
        <pc:cxnChg chg="del">
          <ac:chgData name="Ekaterina Veselkova" userId="5ed5cb5c-b82d-4261-a35d-9158526644a8" providerId="ADAL" clId="{A8881072-A303-41E8-9B70-DFBB4CE55F14}" dt="2021-12-08T19:33:48.395" v="3015" actId="478"/>
          <ac:cxnSpMkLst>
            <pc:docMk/>
            <pc:sldMk cId="967033725" sldId="2147378092"/>
            <ac:cxnSpMk id="52" creationId="{25F9EC30-C936-4D2F-A870-2F3CD6E33C4E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87" creationId="{7CCACADF-9C48-4DD6-8693-17037211F912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88" creationId="{DC3D959A-1CCA-4999-AC68-F7FA0AB8FFE9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89" creationId="{6869CFE6-32E9-4C13-975D-4687161E0C70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90" creationId="{E8768F2B-CEF7-47CD-AC75-65D40238347F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91" creationId="{D25EEEEE-C39D-41F8-918D-CC45B9A3A549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92" creationId="{193C3734-8701-4994-9691-DCEEC2EDC4B3}"/>
          </ac:cxnSpMkLst>
        </pc:cxnChg>
        <pc:cxnChg chg="del">
          <ac:chgData name="Ekaterina Veselkova" userId="5ed5cb5c-b82d-4261-a35d-9158526644a8" providerId="ADAL" clId="{A8881072-A303-41E8-9B70-DFBB4CE55F14}" dt="2021-12-08T19:33:50.236" v="3016" actId="478"/>
          <ac:cxnSpMkLst>
            <pc:docMk/>
            <pc:sldMk cId="967033725" sldId="2147378092"/>
            <ac:cxnSpMk id="108" creationId="{B2B7CC93-A299-428A-AFD0-6A2EB62BCB2B}"/>
          </ac:cxnSpMkLst>
        </pc:cxnChg>
      </pc:sldChg>
      <pc:sldChg chg="add del">
        <pc:chgData name="Ekaterina Veselkova" userId="5ed5cb5c-b82d-4261-a35d-9158526644a8" providerId="ADAL" clId="{A8881072-A303-41E8-9B70-DFBB4CE55F14}" dt="2021-12-08T19:11:54.413" v="2381"/>
        <pc:sldMkLst>
          <pc:docMk/>
          <pc:sldMk cId="1829300327" sldId="2147378092"/>
        </pc:sldMkLst>
      </pc:sldChg>
      <pc:sldMasterChg chg="delSldLayout">
        <pc:chgData name="Ekaterina Veselkova" userId="5ed5cb5c-b82d-4261-a35d-9158526644a8" providerId="ADAL" clId="{A8881072-A303-41E8-9B70-DFBB4CE55F14}" dt="2021-12-08T19:32:38.885" v="2965" actId="47"/>
        <pc:sldMasterMkLst>
          <pc:docMk/>
          <pc:sldMasterMk cId="2205286690" sldId="2147483721"/>
        </pc:sldMasterMkLst>
        <pc:sldLayoutChg chg="del">
          <pc:chgData name="Ekaterina Veselkova" userId="5ed5cb5c-b82d-4261-a35d-9158526644a8" providerId="ADAL" clId="{A8881072-A303-41E8-9B70-DFBB4CE55F14}" dt="2021-12-08T19:32:38.885" v="2965" actId="47"/>
          <pc:sldLayoutMkLst>
            <pc:docMk/>
            <pc:sldMasterMk cId="2205286690" sldId="2147483721"/>
            <pc:sldLayoutMk cId="1674582277" sldId="2147483746"/>
          </pc:sldLayoutMkLst>
        </pc:sldLayoutChg>
      </pc:sldMasterChg>
      <pc:sldMasterChg chg="delSldLayout">
        <pc:chgData name="Ekaterina Veselkova" userId="5ed5cb5c-b82d-4261-a35d-9158526644a8" providerId="ADAL" clId="{A8881072-A303-41E8-9B70-DFBB4CE55F14}" dt="2021-12-08T19:32:42.512" v="2967" actId="47"/>
        <pc:sldMasterMkLst>
          <pc:docMk/>
          <pc:sldMasterMk cId="3558112252" sldId="2147483747"/>
        </pc:sldMasterMkLst>
        <pc:sldLayoutChg chg="del">
          <pc:chgData name="Ekaterina Veselkova" userId="5ed5cb5c-b82d-4261-a35d-9158526644a8" providerId="ADAL" clId="{A8881072-A303-41E8-9B70-DFBB4CE55F14}" dt="2021-12-08T19:32:42.512" v="2967" actId="47"/>
          <pc:sldLayoutMkLst>
            <pc:docMk/>
            <pc:sldMasterMk cId="3558112252" sldId="2147483747"/>
            <pc:sldLayoutMk cId="1220099856" sldId="2147483773"/>
          </pc:sldLayoutMkLst>
        </pc:sldLayoutChg>
      </pc:sldMasterChg>
    </pc:docChg>
  </pc:docChgLst>
  <pc:docChgLst>
    <pc:chgData name="Ekaterina Veselkova" userId="5ed5cb5c-b82d-4261-a35d-9158526644a8" providerId="ADAL" clId="{A9A9F67F-5F9A-4A4D-A191-F421342F4A20}"/>
    <pc:docChg chg="undo redo custSel addSld delSld modSld">
      <pc:chgData name="Ekaterina Veselkova" userId="5ed5cb5c-b82d-4261-a35d-9158526644a8" providerId="ADAL" clId="{A9A9F67F-5F9A-4A4D-A191-F421342F4A20}" dt="2021-11-09T10:42:35.908" v="907" actId="47"/>
      <pc:docMkLst>
        <pc:docMk/>
      </pc:docMkLst>
      <pc:sldChg chg="addSp delSp modSp del mod">
        <pc:chgData name="Ekaterina Veselkova" userId="5ed5cb5c-b82d-4261-a35d-9158526644a8" providerId="ADAL" clId="{A9A9F67F-5F9A-4A4D-A191-F421342F4A20}" dt="2021-11-03T12:26:53.055" v="20" actId="2696"/>
        <pc:sldMkLst>
          <pc:docMk/>
          <pc:sldMk cId="2487109106" sldId="291"/>
        </pc:sldMkLst>
        <pc:spChg chg="del">
          <ac:chgData name="Ekaterina Veselkova" userId="5ed5cb5c-b82d-4261-a35d-9158526644a8" providerId="ADAL" clId="{A9A9F67F-5F9A-4A4D-A191-F421342F4A20}" dt="2021-11-03T12:23:25.106" v="6" actId="478"/>
          <ac:spMkLst>
            <pc:docMk/>
            <pc:sldMk cId="2487109106" sldId="291"/>
            <ac:spMk id="4" creationId="{1DAF16E1-87DB-4920-A90B-23E1C72DDC7F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3" creationId="{346EF5FC-75F4-4FE4-951F-F01855C57F2F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4" creationId="{F25A9E7F-1722-41C0-ADCC-EC653A5E68C0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5" creationId="{E3BA7F9C-7D98-43FE-A2DB-049BE033FB09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6" creationId="{E58A8433-3EC7-48C7-8556-BC80E3DB604B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7" creationId="{0056619A-E21B-442A-AAE5-F7C92188CB6D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8" creationId="{D18067DF-1226-41E4-BC5E-6334D909CF5F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29" creationId="{40DF90EF-1F27-4F0A-97CB-5850AC86326C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30" creationId="{4C7D7499-789C-4F98-819E-4FED56C8347B}"/>
          </ac:spMkLst>
        </pc:spChg>
        <pc:spChg chg="del">
          <ac:chgData name="Ekaterina Veselkova" userId="5ed5cb5c-b82d-4261-a35d-9158526644a8" providerId="ADAL" clId="{A9A9F67F-5F9A-4A4D-A191-F421342F4A20}" dt="2021-11-03T12:23:20.565" v="5" actId="478"/>
          <ac:spMkLst>
            <pc:docMk/>
            <pc:sldMk cId="2487109106" sldId="291"/>
            <ac:spMk id="31" creationId="{D31F7259-023C-4032-BC25-29BCC9A610D8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2" creationId="{85FB9CFD-0CAA-4481-B2E8-69242A39589A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3" creationId="{FC7F3221-7C3B-4F0B-A17D-FB156D54FACA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4" creationId="{87794BB0-5A34-49BB-B435-1F4D752B2C81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5" creationId="{C6B37EBA-DD8C-4362-8609-05DDC14AFCF5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6" creationId="{784D1DBD-7705-417E-BDD8-FD67D92BB07A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37" creationId="{0A836CC7-CC8D-47EE-829C-B7DFF738DB4E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42" creationId="{3BBD95A1-4311-4665-86AA-9DC9DC81DA15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43" creationId="{8B78B9EC-CBCE-4EBB-B593-6884B460B0BF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45" creationId="{5BA11864-044A-4391-8331-BA7E28E10DEB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46" creationId="{20D09C71-2179-4A65-8C5B-2CA9B6A3C2CB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47" creationId="{3CDE968E-D76E-492C-AA27-0431C3D747B0}"/>
          </ac:spMkLst>
        </pc:spChg>
        <pc:spChg chg="del">
          <ac:chgData name="Ekaterina Veselkova" userId="5ed5cb5c-b82d-4261-a35d-9158526644a8" providerId="ADAL" clId="{A9A9F67F-5F9A-4A4D-A191-F421342F4A20}" dt="2021-11-03T12:23:18.829" v="4" actId="478"/>
          <ac:spMkLst>
            <pc:docMk/>
            <pc:sldMk cId="2487109106" sldId="291"/>
            <ac:spMk id="48" creationId="{B26CBABA-87B3-4547-8F08-D274823ADFA3}"/>
          </ac:spMkLst>
        </pc:spChg>
        <pc:spChg chg="mod">
          <ac:chgData name="Ekaterina Veselkova" userId="5ed5cb5c-b82d-4261-a35d-9158526644a8" providerId="ADAL" clId="{A9A9F67F-5F9A-4A4D-A191-F421342F4A20}" dt="2021-11-03T12:26:30.474" v="15"/>
          <ac:spMkLst>
            <pc:docMk/>
            <pc:sldMk cId="2487109106" sldId="291"/>
            <ac:spMk id="49" creationId="{A64B6397-7826-4BDD-BB4C-5E72211C7284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0" creationId="{5703E06A-EF90-41FB-8D6B-092CC2E2C2F8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1" creationId="{886533E2-C5E8-4001-AB31-76910F602CE3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2" creationId="{154049A8-1D74-4DA0-B1D2-8A804840DE7B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3" creationId="{8552C8D5-AEEF-4C44-ACB3-07A3A78418BD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4" creationId="{9D664451-DDA3-448E-A047-A411A3EEA766}"/>
          </ac:spMkLst>
        </pc:spChg>
        <pc:spChg chg="add del mod">
          <ac:chgData name="Ekaterina Veselkova" userId="5ed5cb5c-b82d-4261-a35d-9158526644a8" providerId="ADAL" clId="{A9A9F67F-5F9A-4A4D-A191-F421342F4A20}" dt="2021-11-03T12:25:09.549" v="12"/>
          <ac:spMkLst>
            <pc:docMk/>
            <pc:sldMk cId="2487109106" sldId="291"/>
            <ac:spMk id="55" creationId="{D344BA6E-28B9-4FFB-A145-BFD8C4EBD491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56" creationId="{98073BC4-5753-43F2-B6C7-8175CAD727EE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57" creationId="{EF236306-86E2-4ECD-BE7D-EE2ADB2090B8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58" creationId="{906EBC10-12EA-415D-8AA7-6AE375B3E136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59" creationId="{6624E144-6EC9-4DA2-BE50-16483A85B675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0" creationId="{C15AAB43-FAF6-4E08-8111-372884228679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1" creationId="{EE596A25-22A2-45F1-A9A8-7A12FE513D31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2" creationId="{D33E4B0B-FD57-4A89-BC0D-C769EBE43C0C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3" creationId="{B39A3DD6-8A6E-4BA5-B7A9-9FBA216FE45D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4" creationId="{CDC705AC-82ED-4B88-82D9-F1476B48209E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5" creationId="{A9194F81-857E-4ADA-A029-DB55CB02766E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6" creationId="{1DC8C2A4-C096-4C53-AFDB-A7A01C058893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7" creationId="{2D02B23D-E2B1-4DB4-94C1-4AEFCDE2EF98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8" creationId="{8CE74B1B-464F-4956-9F89-3BE204676526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69" creationId="{2AECECBF-8C85-4EDA-B760-66E79835765F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70" creationId="{8BA234D0-1A1A-4AD9-8E04-91C3A873B926}"/>
          </ac:spMkLst>
        </pc:spChg>
        <pc:spChg chg="add mod">
          <ac:chgData name="Ekaterina Veselkova" userId="5ed5cb5c-b82d-4261-a35d-9158526644a8" providerId="ADAL" clId="{A9A9F67F-5F9A-4A4D-A191-F421342F4A20}" dt="2021-11-03T12:25:23.176" v="13"/>
          <ac:spMkLst>
            <pc:docMk/>
            <pc:sldMk cId="2487109106" sldId="291"/>
            <ac:spMk id="71" creationId="{6C450442-C28B-428D-BCD5-91EAFE9482F7}"/>
          </ac:spMkLst>
        </pc:spChg>
        <pc:spChg chg="add del mod">
          <ac:chgData name="Ekaterina Veselkova" userId="5ed5cb5c-b82d-4261-a35d-9158526644a8" providerId="ADAL" clId="{A9A9F67F-5F9A-4A4D-A191-F421342F4A20}" dt="2021-11-03T12:26:43.216" v="17"/>
          <ac:spMkLst>
            <pc:docMk/>
            <pc:sldMk cId="2487109106" sldId="291"/>
            <ac:spMk id="72" creationId="{ED3E35A2-E090-4C85-901A-1A88736CDC23}"/>
          </ac:spMkLst>
        </pc:spChg>
        <pc:spChg chg="add mod">
          <ac:chgData name="Ekaterina Veselkova" userId="5ed5cb5c-b82d-4261-a35d-9158526644a8" providerId="ADAL" clId="{A9A9F67F-5F9A-4A4D-A191-F421342F4A20}" dt="2021-11-03T12:26:47.263" v="19" actId="1076"/>
          <ac:spMkLst>
            <pc:docMk/>
            <pc:sldMk cId="2487109106" sldId="291"/>
            <ac:spMk id="73" creationId="{F19C58CF-3514-4271-AB81-74CF9B946295}"/>
          </ac:spMkLst>
        </pc:spChg>
        <pc:grpChg chg="del">
          <ac:chgData name="Ekaterina Veselkova" userId="5ed5cb5c-b82d-4261-a35d-9158526644a8" providerId="ADAL" clId="{A9A9F67F-5F9A-4A4D-A191-F421342F4A20}" dt="2021-11-03T12:23:18.829" v="4" actId="478"/>
          <ac:grpSpMkLst>
            <pc:docMk/>
            <pc:sldMk cId="2487109106" sldId="291"/>
            <ac:grpSpMk id="38" creationId="{1F9B7780-401C-43AF-B3FF-E76B0D0678DD}"/>
          </ac:grpSpMkLst>
        </pc:grpChg>
        <pc:picChg chg="mod">
          <ac:chgData name="Ekaterina Veselkova" userId="5ed5cb5c-b82d-4261-a35d-9158526644a8" providerId="ADAL" clId="{A9A9F67F-5F9A-4A4D-A191-F421342F4A20}" dt="2021-11-03T12:25:28.794" v="14" actId="1076"/>
          <ac:picMkLst>
            <pc:docMk/>
            <pc:sldMk cId="2487109106" sldId="291"/>
            <ac:picMk id="11" creationId="{00000000-0000-0000-0000-000000000000}"/>
          </ac:picMkLst>
        </pc:picChg>
        <pc:picChg chg="del">
          <ac:chgData name="Ekaterina Veselkova" userId="5ed5cb5c-b82d-4261-a35d-9158526644a8" providerId="ADAL" clId="{A9A9F67F-5F9A-4A4D-A191-F421342F4A20}" dt="2021-11-03T12:23:18.829" v="4" actId="478"/>
          <ac:picMkLst>
            <pc:docMk/>
            <pc:sldMk cId="2487109106" sldId="291"/>
            <ac:picMk id="44" creationId="{FE664635-6E7E-49EE-9544-E20CADA7AA82}"/>
          </ac:picMkLst>
        </pc:picChg>
      </pc:sldChg>
      <pc:sldChg chg="add">
        <pc:chgData name="Ekaterina Veselkova" userId="5ed5cb5c-b82d-4261-a35d-9158526644a8" providerId="ADAL" clId="{A9A9F67F-5F9A-4A4D-A191-F421342F4A20}" dt="2021-11-03T12:26:54.536" v="21"/>
        <pc:sldMkLst>
          <pc:docMk/>
          <pc:sldMk cId="3361680876" sldId="291"/>
        </pc:sldMkLst>
      </pc:sldChg>
      <pc:sldChg chg="add del">
        <pc:chgData name="Ekaterina Veselkova" userId="5ed5cb5c-b82d-4261-a35d-9158526644a8" providerId="ADAL" clId="{A9A9F67F-5F9A-4A4D-A191-F421342F4A20}" dt="2021-11-03T12:42:55.960" v="709" actId="47"/>
        <pc:sldMkLst>
          <pc:docMk/>
          <pc:sldMk cId="3857725257" sldId="299"/>
        </pc:sldMkLst>
      </pc:sldChg>
      <pc:sldChg chg="modSp mod">
        <pc:chgData name="Ekaterina Veselkova" userId="5ed5cb5c-b82d-4261-a35d-9158526644a8" providerId="ADAL" clId="{A9A9F67F-5F9A-4A4D-A191-F421342F4A20}" dt="2021-11-03T12:22:58.056" v="3"/>
        <pc:sldMkLst>
          <pc:docMk/>
          <pc:sldMk cId="1396317339" sldId="304"/>
        </pc:sldMkLst>
        <pc:spChg chg="mod">
          <ac:chgData name="Ekaterina Veselkova" userId="5ed5cb5c-b82d-4261-a35d-9158526644a8" providerId="ADAL" clId="{A9A9F67F-5F9A-4A4D-A191-F421342F4A20}" dt="2021-11-03T12:22:35.226" v="0"/>
          <ac:spMkLst>
            <pc:docMk/>
            <pc:sldMk cId="1396317339" sldId="304"/>
            <ac:spMk id="15" creationId="{3672572C-2131-4986-B343-6702207EDACD}"/>
          </ac:spMkLst>
        </pc:spChg>
        <pc:spChg chg="mod">
          <ac:chgData name="Ekaterina Veselkova" userId="5ed5cb5c-b82d-4261-a35d-9158526644a8" providerId="ADAL" clId="{A9A9F67F-5F9A-4A4D-A191-F421342F4A20}" dt="2021-11-03T12:22:58.056" v="3"/>
          <ac:spMkLst>
            <pc:docMk/>
            <pc:sldMk cId="1396317339" sldId="304"/>
            <ac:spMk id="18" creationId="{B3519AA9-9EDC-4A35-90F9-C6C951C85B20}"/>
          </ac:spMkLst>
        </pc:spChg>
      </pc:sldChg>
      <pc:sldChg chg="addSp delSp modSp mod">
        <pc:chgData name="Ekaterina Veselkova" userId="5ed5cb5c-b82d-4261-a35d-9158526644a8" providerId="ADAL" clId="{A9A9F67F-5F9A-4A4D-A191-F421342F4A20}" dt="2021-11-03T12:31:20.276" v="291" actId="20577"/>
        <pc:sldMkLst>
          <pc:docMk/>
          <pc:sldMk cId="4076224107" sldId="317"/>
        </pc:sldMkLst>
        <pc:spChg chg="mod">
          <ac:chgData name="Ekaterina Veselkova" userId="5ed5cb5c-b82d-4261-a35d-9158526644a8" providerId="ADAL" clId="{A9A9F67F-5F9A-4A4D-A191-F421342F4A20}" dt="2021-11-03T12:31:20.276" v="291" actId="20577"/>
          <ac:spMkLst>
            <pc:docMk/>
            <pc:sldMk cId="4076224107" sldId="317"/>
            <ac:spMk id="13" creationId="{A4FEDAE8-8A78-4057-B0E8-0B4F3C14CFB7}"/>
          </ac:spMkLst>
        </pc:spChg>
        <pc:spChg chg="mod">
          <ac:chgData name="Ekaterina Veselkova" userId="5ed5cb5c-b82d-4261-a35d-9158526644a8" providerId="ADAL" clId="{A9A9F67F-5F9A-4A4D-A191-F421342F4A20}" dt="2021-11-03T12:27:12.513" v="68" actId="20577"/>
          <ac:spMkLst>
            <pc:docMk/>
            <pc:sldMk cId="4076224107" sldId="317"/>
            <ac:spMk id="30" creationId="{2125D8B3-FC95-409F-B1E1-F1057A801912}"/>
          </ac:spMkLst>
        </pc:spChg>
        <pc:picChg chg="del">
          <ac:chgData name="Ekaterina Veselkova" userId="5ed5cb5c-b82d-4261-a35d-9158526644a8" providerId="ADAL" clId="{A9A9F67F-5F9A-4A4D-A191-F421342F4A20}" dt="2021-11-03T12:27:27.647" v="69" actId="478"/>
          <ac:picMkLst>
            <pc:docMk/>
            <pc:sldMk cId="4076224107" sldId="317"/>
            <ac:picMk id="4" creationId="{537BB24B-3223-4FAF-9D8C-5E93CCF45B26}"/>
          </ac:picMkLst>
        </pc:picChg>
        <pc:picChg chg="add del mod">
          <ac:chgData name="Ekaterina Veselkova" userId="5ed5cb5c-b82d-4261-a35d-9158526644a8" providerId="ADAL" clId="{A9A9F67F-5F9A-4A4D-A191-F421342F4A20}" dt="2021-11-03T12:29:05.089" v="77" actId="1076"/>
          <ac:picMkLst>
            <pc:docMk/>
            <pc:sldMk cId="4076224107" sldId="317"/>
            <ac:picMk id="9" creationId="{F84947BB-1FE6-43C2-9396-E4D581DA3101}"/>
          </ac:picMkLst>
        </pc:picChg>
      </pc:sldChg>
      <pc:sldChg chg="del">
        <pc:chgData name="Ekaterina Veselkova" userId="5ed5cb5c-b82d-4261-a35d-9158526644a8" providerId="ADAL" clId="{A9A9F67F-5F9A-4A4D-A191-F421342F4A20}" dt="2021-11-03T12:42:51.454" v="705" actId="47"/>
        <pc:sldMkLst>
          <pc:docMk/>
          <pc:sldMk cId="1496511037" sldId="341"/>
        </pc:sldMkLst>
      </pc:sldChg>
      <pc:sldChg chg="addSp modSp add del mod">
        <pc:chgData name="Ekaterina Veselkova" userId="5ed5cb5c-b82d-4261-a35d-9158526644a8" providerId="ADAL" clId="{A9A9F67F-5F9A-4A4D-A191-F421342F4A20}" dt="2021-11-09T09:54:10.894" v="884" actId="2696"/>
        <pc:sldMkLst>
          <pc:docMk/>
          <pc:sldMk cId="30984202" sldId="520"/>
        </pc:sldMkLst>
        <pc:spChg chg="mod">
          <ac:chgData name="Ekaterina Veselkova" userId="5ed5cb5c-b82d-4261-a35d-9158526644a8" providerId="ADAL" clId="{A9A9F67F-5F9A-4A4D-A191-F421342F4A20}" dt="2021-11-03T12:39:18.832" v="452" actId="20577"/>
          <ac:spMkLst>
            <pc:docMk/>
            <pc:sldMk cId="30984202" sldId="520"/>
            <ac:spMk id="2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39:30.858" v="453" actId="207"/>
          <ac:spMkLst>
            <pc:docMk/>
            <pc:sldMk cId="30984202" sldId="520"/>
            <ac:spMk id="3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39:37.374" v="456" actId="108"/>
          <ac:spMkLst>
            <pc:docMk/>
            <pc:sldMk cId="30984202" sldId="520"/>
            <ac:spMk id="4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39:36.497" v="455" actId="108"/>
          <ac:spMkLst>
            <pc:docMk/>
            <pc:sldMk cId="30984202" sldId="520"/>
            <ac:spMk id="5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39:35.892" v="454" actId="108"/>
          <ac:spMkLst>
            <pc:docMk/>
            <pc:sldMk cId="30984202" sldId="520"/>
            <ac:spMk id="6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1:43.416" v="696" actId="207"/>
          <ac:spMkLst>
            <pc:docMk/>
            <pc:sldMk cId="30984202" sldId="520"/>
            <ac:spMk id="11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2:01.527" v="697" actId="1076"/>
          <ac:spMkLst>
            <pc:docMk/>
            <pc:sldMk cId="30984202" sldId="520"/>
            <ac:spMk id="12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2:23.318" v="701" actId="207"/>
          <ac:spMkLst>
            <pc:docMk/>
            <pc:sldMk cId="30984202" sldId="520"/>
            <ac:spMk id="13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39:08.944" v="447" actId="1076"/>
          <ac:spMkLst>
            <pc:docMk/>
            <pc:sldMk cId="30984202" sldId="520"/>
            <ac:spMk id="14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2:27.265" v="702" actId="108"/>
          <ac:spMkLst>
            <pc:docMk/>
            <pc:sldMk cId="30984202" sldId="520"/>
            <ac:spMk id="16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2:28.041" v="703" actId="108"/>
          <ac:spMkLst>
            <pc:docMk/>
            <pc:sldMk cId="30984202" sldId="520"/>
            <ac:spMk id="19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3T12:42:28.960" v="704" actId="108"/>
          <ac:spMkLst>
            <pc:docMk/>
            <pc:sldMk cId="30984202" sldId="520"/>
            <ac:spMk id="20" creationId="{00000000-0000-0000-0000-000000000000}"/>
          </ac:spMkLst>
        </pc:spChg>
        <pc:picChg chg="add mod">
          <ac:chgData name="Ekaterina Veselkova" userId="5ed5cb5c-b82d-4261-a35d-9158526644a8" providerId="ADAL" clId="{A9A9F67F-5F9A-4A4D-A191-F421342F4A20}" dt="2021-11-03T12:38:19.429" v="443"/>
          <ac:picMkLst>
            <pc:docMk/>
            <pc:sldMk cId="30984202" sldId="520"/>
            <ac:picMk id="18" creationId="{47EC9747-2E4A-4D78-85A7-2A07D685D442}"/>
          </ac:picMkLst>
        </pc:picChg>
      </pc:sldChg>
      <pc:sldChg chg="add del">
        <pc:chgData name="Ekaterina Veselkova" userId="5ed5cb5c-b82d-4261-a35d-9158526644a8" providerId="ADAL" clId="{A9A9F67F-5F9A-4A4D-A191-F421342F4A20}" dt="2021-11-09T09:53:23.711" v="870"/>
        <pc:sldMkLst>
          <pc:docMk/>
          <pc:sldMk cId="787652722" sldId="520"/>
        </pc:sldMkLst>
      </pc:sldChg>
      <pc:sldChg chg="add">
        <pc:chgData name="Ekaterina Veselkova" userId="5ed5cb5c-b82d-4261-a35d-9158526644a8" providerId="ADAL" clId="{A9A9F67F-5F9A-4A4D-A191-F421342F4A20}" dt="2021-11-09T09:54:13.470" v="885"/>
        <pc:sldMkLst>
          <pc:docMk/>
          <pc:sldMk cId="3340111278" sldId="520"/>
        </pc:sldMkLst>
      </pc:sldChg>
      <pc:sldChg chg="del">
        <pc:chgData name="Ekaterina Veselkova" userId="5ed5cb5c-b82d-4261-a35d-9158526644a8" providerId="ADAL" clId="{A9A9F67F-5F9A-4A4D-A191-F421342F4A20}" dt="2021-11-03T12:43:03.961" v="712" actId="47"/>
        <pc:sldMkLst>
          <pc:docMk/>
          <pc:sldMk cId="3780737834" sldId="578"/>
        </pc:sldMkLst>
      </pc:sldChg>
      <pc:sldChg chg="add del">
        <pc:chgData name="Ekaterina Veselkova" userId="5ed5cb5c-b82d-4261-a35d-9158526644a8" providerId="ADAL" clId="{A9A9F67F-5F9A-4A4D-A191-F421342F4A20}" dt="2021-11-03T12:43:04.808" v="713" actId="47"/>
        <pc:sldMkLst>
          <pc:docMk/>
          <pc:sldMk cId="358122661" sldId="579"/>
        </pc:sldMkLst>
      </pc:sldChg>
      <pc:sldChg chg="delSp add del mod">
        <pc:chgData name="Ekaterina Veselkova" userId="5ed5cb5c-b82d-4261-a35d-9158526644a8" providerId="ADAL" clId="{A9A9F67F-5F9A-4A4D-A191-F421342F4A20}" dt="2021-11-03T12:37:03.929" v="433" actId="2696"/>
        <pc:sldMkLst>
          <pc:docMk/>
          <pc:sldMk cId="54361750" sldId="580"/>
        </pc:sldMkLst>
        <pc:spChg chg="del">
          <ac:chgData name="Ekaterina Veselkova" userId="5ed5cb5c-b82d-4261-a35d-9158526644a8" providerId="ADAL" clId="{A9A9F67F-5F9A-4A4D-A191-F421342F4A20}" dt="2021-11-03T12:36:34.695" v="428" actId="478"/>
          <ac:spMkLst>
            <pc:docMk/>
            <pc:sldMk cId="54361750" sldId="580"/>
            <ac:spMk id="30" creationId="{2125D8B3-FC95-409F-B1E1-F1057A801912}"/>
          </ac:spMkLst>
        </pc:spChg>
        <pc:picChg chg="del">
          <ac:chgData name="Ekaterina Veselkova" userId="5ed5cb5c-b82d-4261-a35d-9158526644a8" providerId="ADAL" clId="{A9A9F67F-5F9A-4A4D-A191-F421342F4A20}" dt="2021-11-03T12:36:36.283" v="429" actId="478"/>
          <ac:picMkLst>
            <pc:docMk/>
            <pc:sldMk cId="54361750" sldId="580"/>
            <ac:picMk id="2" creationId="{AC1D2DDD-749B-42F6-87DF-E128627F5B4E}"/>
          </ac:picMkLst>
        </pc:picChg>
      </pc:sldChg>
      <pc:sldChg chg="delSp add del mod">
        <pc:chgData name="Ekaterina Veselkova" userId="5ed5cb5c-b82d-4261-a35d-9158526644a8" providerId="ADAL" clId="{A9A9F67F-5F9A-4A4D-A191-F421342F4A20}" dt="2021-11-03T12:31:44.197" v="295" actId="2696"/>
        <pc:sldMkLst>
          <pc:docMk/>
          <pc:sldMk cId="853615569" sldId="580"/>
        </pc:sldMkLst>
        <pc:spChg chg="del">
          <ac:chgData name="Ekaterina Veselkova" userId="5ed5cb5c-b82d-4261-a35d-9158526644a8" providerId="ADAL" clId="{A9A9F67F-5F9A-4A4D-A191-F421342F4A20}" dt="2021-11-03T12:31:41.203" v="294" actId="478"/>
          <ac:spMkLst>
            <pc:docMk/>
            <pc:sldMk cId="853615569" sldId="580"/>
            <ac:spMk id="13" creationId="{A4FEDAE8-8A78-4057-B0E8-0B4F3C14CFB7}"/>
          </ac:spMkLst>
        </pc:spChg>
        <pc:picChg chg="del">
          <ac:chgData name="Ekaterina Veselkova" userId="5ed5cb5c-b82d-4261-a35d-9158526644a8" providerId="ADAL" clId="{A9A9F67F-5F9A-4A4D-A191-F421342F4A20}" dt="2021-11-03T12:31:39.147" v="293" actId="478"/>
          <ac:picMkLst>
            <pc:docMk/>
            <pc:sldMk cId="853615569" sldId="580"/>
            <ac:picMk id="9" creationId="{F84947BB-1FE6-43C2-9396-E4D581DA3101}"/>
          </ac:picMkLst>
        </pc:picChg>
      </pc:sldChg>
      <pc:sldChg chg="add del">
        <pc:chgData name="Ekaterina Veselkova" userId="5ed5cb5c-b82d-4261-a35d-9158526644a8" providerId="ADAL" clId="{A9A9F67F-5F9A-4A4D-A191-F421342F4A20}" dt="2021-11-03T12:37:28.001" v="437" actId="2696"/>
        <pc:sldMkLst>
          <pc:docMk/>
          <pc:sldMk cId="1312537032" sldId="580"/>
        </pc:sldMkLst>
      </pc:sldChg>
      <pc:sldChg chg="add del">
        <pc:chgData name="Ekaterina Veselkova" userId="5ed5cb5c-b82d-4261-a35d-9158526644a8" providerId="ADAL" clId="{A9A9F67F-5F9A-4A4D-A191-F421342F4A20}" dt="2021-11-03T12:37:45.689" v="440" actId="47"/>
        <pc:sldMkLst>
          <pc:docMk/>
          <pc:sldMk cId="1312911002" sldId="580"/>
        </pc:sldMkLst>
      </pc:sldChg>
      <pc:sldChg chg="add del">
        <pc:chgData name="Ekaterina Veselkova" userId="5ed5cb5c-b82d-4261-a35d-9158526644a8" providerId="ADAL" clId="{A9A9F67F-5F9A-4A4D-A191-F421342F4A20}" dt="2021-11-03T12:43:00.089" v="710" actId="47"/>
        <pc:sldMkLst>
          <pc:docMk/>
          <pc:sldMk cId="2200825339" sldId="581"/>
        </pc:sldMkLst>
      </pc:sldChg>
      <pc:sldChg chg="add del">
        <pc:chgData name="Ekaterina Veselkova" userId="5ed5cb5c-b82d-4261-a35d-9158526644a8" providerId="ADAL" clId="{A9A9F67F-5F9A-4A4D-A191-F421342F4A20}" dt="2021-11-03T12:43:03.228" v="711" actId="47"/>
        <pc:sldMkLst>
          <pc:docMk/>
          <pc:sldMk cId="452959063" sldId="582"/>
        </pc:sldMkLst>
      </pc:sldChg>
      <pc:sldChg chg="addSp delSp modSp add del mod">
        <pc:chgData name="Ekaterina Veselkova" userId="5ed5cb5c-b82d-4261-a35d-9158526644a8" providerId="ADAL" clId="{A9A9F67F-5F9A-4A4D-A191-F421342F4A20}" dt="2021-11-03T12:34:54.628" v="427" actId="478"/>
        <pc:sldMkLst>
          <pc:docMk/>
          <pc:sldMk cId="3899478843" sldId="583"/>
        </pc:sldMkLst>
        <pc:spChg chg="mod">
          <ac:chgData name="Ekaterina Veselkova" userId="5ed5cb5c-b82d-4261-a35d-9158526644a8" providerId="ADAL" clId="{A9A9F67F-5F9A-4A4D-A191-F421342F4A20}" dt="2021-11-03T12:34:32.203" v="424" actId="1076"/>
          <ac:spMkLst>
            <pc:docMk/>
            <pc:sldMk cId="3899478843" sldId="583"/>
            <ac:spMk id="15" creationId="{3672572C-2131-4986-B343-6702207EDACD}"/>
          </ac:spMkLst>
        </pc:spChg>
        <pc:spChg chg="add del">
          <ac:chgData name="Ekaterina Veselkova" userId="5ed5cb5c-b82d-4261-a35d-9158526644a8" providerId="ADAL" clId="{A9A9F67F-5F9A-4A4D-A191-F421342F4A20}" dt="2021-11-03T12:34:12.041" v="402" actId="478"/>
          <ac:spMkLst>
            <pc:docMk/>
            <pc:sldMk cId="3899478843" sldId="583"/>
            <ac:spMk id="18" creationId="{B3519AA9-9EDC-4A35-90F9-C6C951C85B20}"/>
          </ac:spMkLst>
        </pc:spChg>
        <pc:spChg chg="mod">
          <ac:chgData name="Ekaterina Veselkova" userId="5ed5cb5c-b82d-4261-a35d-9158526644a8" providerId="ADAL" clId="{A9A9F67F-5F9A-4A4D-A191-F421342F4A20}" dt="2021-11-03T12:33:36.451" v="350" actId="1076"/>
          <ac:spMkLst>
            <pc:docMk/>
            <pc:sldMk cId="3899478843" sldId="583"/>
            <ac:spMk id="28" creationId="{D781A05C-AA3C-4AF0-AF64-778A73FD093B}"/>
          </ac:spMkLst>
        </pc:spChg>
        <pc:picChg chg="add del mod">
          <ac:chgData name="Ekaterina Veselkova" userId="5ed5cb5c-b82d-4261-a35d-9158526644a8" providerId="ADAL" clId="{A9A9F67F-5F9A-4A4D-A191-F421342F4A20}" dt="2021-11-03T12:34:54.628" v="427" actId="478"/>
          <ac:picMkLst>
            <pc:docMk/>
            <pc:sldMk cId="3899478843" sldId="583"/>
            <ac:picMk id="2" creationId="{3123C4CC-74FB-42E2-933E-AFC18E3977F6}"/>
          </ac:picMkLst>
        </pc:picChg>
        <pc:picChg chg="add del">
          <ac:chgData name="Ekaterina Veselkova" userId="5ed5cb5c-b82d-4261-a35d-9158526644a8" providerId="ADAL" clId="{A9A9F67F-5F9A-4A4D-A191-F421342F4A20}" dt="2021-11-03T12:33:49.569" v="357" actId="478"/>
          <ac:picMkLst>
            <pc:docMk/>
            <pc:sldMk cId="3899478843" sldId="583"/>
            <ac:picMk id="13" creationId="{C68284BA-511D-4297-9C2B-83BCE3FC4FA7}"/>
          </ac:picMkLst>
        </pc:picChg>
      </pc:sldChg>
      <pc:sldChg chg="add del">
        <pc:chgData name="Ekaterina Veselkova" userId="5ed5cb5c-b82d-4261-a35d-9158526644a8" providerId="ADAL" clId="{A9A9F67F-5F9A-4A4D-A191-F421342F4A20}" dt="2021-11-09T10:42:34.951" v="906" actId="47"/>
        <pc:sldMkLst>
          <pc:docMk/>
          <pc:sldMk cId="172466913" sldId="2076137201"/>
        </pc:sldMkLst>
      </pc:sldChg>
      <pc:sldChg chg="addSp modSp add del mod">
        <pc:chgData name="Ekaterina Veselkova" userId="5ed5cb5c-b82d-4261-a35d-9158526644a8" providerId="ADAL" clId="{A9A9F67F-5F9A-4A4D-A191-F421342F4A20}" dt="2021-11-09T09:55:54.700" v="904" actId="2696"/>
        <pc:sldMkLst>
          <pc:docMk/>
          <pc:sldMk cId="3475671845" sldId="2076137201"/>
        </pc:sldMkLst>
        <pc:spChg chg="mod">
          <ac:chgData name="Ekaterina Veselkova" userId="5ed5cb5c-b82d-4261-a35d-9158526644a8" providerId="ADAL" clId="{A9A9F67F-5F9A-4A4D-A191-F421342F4A20}" dt="2021-11-09T09:40:11.151" v="725" actId="164"/>
          <ac:spMkLst>
            <pc:docMk/>
            <pc:sldMk cId="3475671845" sldId="2076137201"/>
            <ac:spMk id="128" creationId="{6039BB23-8E57-49A9-B613-8ECEF3E5D120}"/>
          </ac:spMkLst>
        </pc:spChg>
        <pc:spChg chg="mod">
          <ac:chgData name="Ekaterina Veselkova" userId="5ed5cb5c-b82d-4261-a35d-9158526644a8" providerId="ADAL" clId="{A9A9F67F-5F9A-4A4D-A191-F421342F4A20}" dt="2021-11-09T09:37:06.323" v="715" actId="1076"/>
          <ac:spMkLst>
            <pc:docMk/>
            <pc:sldMk cId="3475671845" sldId="2076137201"/>
            <ac:spMk id="145" creationId="{00000000-0000-0000-0000-000000000000}"/>
          </ac:spMkLst>
        </pc:spChg>
        <pc:grpChg chg="add mod">
          <ac:chgData name="Ekaterina Veselkova" userId="5ed5cb5c-b82d-4261-a35d-9158526644a8" providerId="ADAL" clId="{A9A9F67F-5F9A-4A4D-A191-F421342F4A20}" dt="2021-11-09T09:40:29.027" v="730" actId="164"/>
          <ac:grpSpMkLst>
            <pc:docMk/>
            <pc:sldMk cId="3475671845" sldId="2076137201"/>
            <ac:grpSpMk id="2" creationId="{391D1AC0-96CD-4BD8-9730-66D439BCD659}"/>
          </ac:grpSpMkLst>
        </pc:grpChg>
        <pc:grpChg chg="add mod">
          <ac:chgData name="Ekaterina Veselkova" userId="5ed5cb5c-b82d-4261-a35d-9158526644a8" providerId="ADAL" clId="{A9A9F67F-5F9A-4A4D-A191-F421342F4A20}" dt="2021-11-09T09:44:02.477" v="771" actId="1076"/>
          <ac:grpSpMkLst>
            <pc:docMk/>
            <pc:sldMk cId="3475671845" sldId="2076137201"/>
            <ac:grpSpMk id="9" creationId="{36E1B611-3EFF-4083-B191-AF274829D959}"/>
          </ac:grpSpMkLst>
        </pc:grpChg>
        <pc:picChg chg="mod">
          <ac:chgData name="Ekaterina Veselkova" userId="5ed5cb5c-b82d-4261-a35d-9158526644a8" providerId="ADAL" clId="{A9A9F67F-5F9A-4A4D-A191-F421342F4A20}" dt="2021-11-09T09:40:11.151" v="725" actId="164"/>
          <ac:picMkLst>
            <pc:docMk/>
            <pc:sldMk cId="3475671845" sldId="2076137201"/>
            <ac:picMk id="129" creationId="{48650B99-0372-4365-B37A-18758AA4CD83}"/>
          </ac:picMkLst>
        </pc:picChg>
        <pc:picChg chg="mod ord">
          <ac:chgData name="Ekaterina Veselkova" userId="5ed5cb5c-b82d-4261-a35d-9158526644a8" providerId="ADAL" clId="{A9A9F67F-5F9A-4A4D-A191-F421342F4A20}" dt="2021-11-09T09:40:29.027" v="730" actId="164"/>
          <ac:picMkLst>
            <pc:docMk/>
            <pc:sldMk cId="3475671845" sldId="2076137201"/>
            <ac:picMk id="130" creationId="{8C73EA81-BC3E-4823-A541-9AA5C28472D9}"/>
          </ac:picMkLst>
        </pc:picChg>
        <pc:picChg chg="mod">
          <ac:chgData name="Ekaterina Veselkova" userId="5ed5cb5c-b82d-4261-a35d-9158526644a8" providerId="ADAL" clId="{A9A9F67F-5F9A-4A4D-A191-F421342F4A20}" dt="2021-11-09T09:40:11.151" v="725" actId="164"/>
          <ac:picMkLst>
            <pc:docMk/>
            <pc:sldMk cId="3475671845" sldId="2076137201"/>
            <ac:picMk id="131" creationId="{981199F3-4F31-4F76-9D94-23CF9AFA5D2B}"/>
          </ac:picMkLst>
        </pc:picChg>
        <pc:picChg chg="mod">
          <ac:chgData name="Ekaterina Veselkova" userId="5ed5cb5c-b82d-4261-a35d-9158526644a8" providerId="ADAL" clId="{A9A9F67F-5F9A-4A4D-A191-F421342F4A20}" dt="2021-11-09T09:40:11.151" v="725" actId="164"/>
          <ac:picMkLst>
            <pc:docMk/>
            <pc:sldMk cId="3475671845" sldId="2076137201"/>
            <ac:picMk id="132" creationId="{D446EA6D-272B-4697-85A9-00BED82D5E3D}"/>
          </ac:picMkLst>
        </pc:picChg>
      </pc:sldChg>
      <pc:sldChg chg="add del">
        <pc:chgData name="Ekaterina Veselkova" userId="5ed5cb5c-b82d-4261-a35d-9158526644a8" providerId="ADAL" clId="{A9A9F67F-5F9A-4A4D-A191-F421342F4A20}" dt="2021-11-03T12:38:07.205" v="442" actId="47"/>
        <pc:sldMkLst>
          <pc:docMk/>
          <pc:sldMk cId="93888157" sldId="2076137202"/>
        </pc:sldMkLst>
      </pc:sldChg>
      <pc:sldChg chg="add del">
        <pc:chgData name="Ekaterina Veselkova" userId="5ed5cb5c-b82d-4261-a35d-9158526644a8" providerId="ADAL" clId="{A9A9F67F-5F9A-4A4D-A191-F421342F4A20}" dt="2021-11-09T09:53:26.334" v="874"/>
        <pc:sldMkLst>
          <pc:docMk/>
          <pc:sldMk cId="1390438650" sldId="2147378079"/>
        </pc:sldMkLst>
      </pc:sldChg>
      <pc:sldChg chg="addSp delSp modSp add del mod">
        <pc:chgData name="Ekaterina Veselkova" userId="5ed5cb5c-b82d-4261-a35d-9158526644a8" providerId="ADAL" clId="{A9A9F67F-5F9A-4A4D-A191-F421342F4A20}" dt="2021-11-09T09:53:51.773" v="880" actId="2696"/>
        <pc:sldMkLst>
          <pc:docMk/>
          <pc:sldMk cId="2116032937" sldId="2147378079"/>
        </pc:sldMkLst>
        <pc:spChg chg="mod">
          <ac:chgData name="Ekaterina Veselkova" userId="5ed5cb5c-b82d-4261-a35d-9158526644a8" providerId="ADAL" clId="{A9A9F67F-5F9A-4A4D-A191-F421342F4A20}" dt="2021-11-09T09:49:27.176" v="814" actId="1076"/>
          <ac:spMkLst>
            <pc:docMk/>
            <pc:sldMk cId="2116032937" sldId="2147378079"/>
            <ac:spMk id="2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50:18.896" v="844" actId="20577"/>
          <ac:spMkLst>
            <pc:docMk/>
            <pc:sldMk cId="2116032937" sldId="2147378079"/>
            <ac:spMk id="3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47:47.953" v="795" actId="478"/>
          <ac:spMkLst>
            <pc:docMk/>
            <pc:sldMk cId="2116032937" sldId="2147378079"/>
            <ac:spMk id="5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9" creationId="{8AE4B766-C228-4C7F-8AF6-5668AFA9D40E}"/>
          </ac:spMkLst>
        </pc:spChg>
        <pc:spChg chg="del">
          <ac:chgData name="Ekaterina Veselkova" userId="5ed5cb5c-b82d-4261-a35d-9158526644a8" providerId="ADAL" clId="{A9A9F67F-5F9A-4A4D-A191-F421342F4A20}" dt="2021-11-09T09:47:53.306" v="798" actId="478"/>
          <ac:spMkLst>
            <pc:docMk/>
            <pc:sldMk cId="2116032937" sldId="2147378079"/>
            <ac:spMk id="10" creationId="{9856BFBC-2A01-4352-A936-E574BBD5F7CA}"/>
          </ac:spMkLst>
        </pc:spChg>
        <pc:spChg chg="del">
          <ac:chgData name="Ekaterina Veselkova" userId="5ed5cb5c-b82d-4261-a35d-9158526644a8" providerId="ADAL" clId="{A9A9F67F-5F9A-4A4D-A191-F421342F4A20}" dt="2021-11-09T09:49:23.443" v="813" actId="478"/>
          <ac:spMkLst>
            <pc:docMk/>
            <pc:sldMk cId="2116032937" sldId="2147378079"/>
            <ac:spMk id="15" creationId="{89B817B8-C566-4667-B426-A3D6BCCD90DA}"/>
          </ac:spMkLst>
        </pc:spChg>
        <pc:spChg chg="del">
          <ac:chgData name="Ekaterina Veselkova" userId="5ed5cb5c-b82d-4261-a35d-9158526644a8" providerId="ADAL" clId="{A9A9F67F-5F9A-4A4D-A191-F421342F4A20}" dt="2021-11-09T09:47:04.289" v="787" actId="478"/>
          <ac:spMkLst>
            <pc:docMk/>
            <pc:sldMk cId="2116032937" sldId="2147378079"/>
            <ac:spMk id="18" creationId="{B37AD518-B918-4902-8EF1-6C80782BDAE9}"/>
          </ac:spMkLst>
        </pc:spChg>
        <pc:spChg chg="del">
          <ac:chgData name="Ekaterina Veselkova" userId="5ed5cb5c-b82d-4261-a35d-9158526644a8" providerId="ADAL" clId="{A9A9F67F-5F9A-4A4D-A191-F421342F4A20}" dt="2021-11-09T09:46:44.598" v="783" actId="478"/>
          <ac:spMkLst>
            <pc:docMk/>
            <pc:sldMk cId="2116032937" sldId="2147378079"/>
            <ac:spMk id="24" creationId="{42BC0F08-DB04-4B59-AC6B-60E2A98D8B7E}"/>
          </ac:spMkLst>
        </pc:spChg>
        <pc:spChg chg="del">
          <ac:chgData name="Ekaterina Veselkova" userId="5ed5cb5c-b82d-4261-a35d-9158526644a8" providerId="ADAL" clId="{A9A9F67F-5F9A-4A4D-A191-F421342F4A20}" dt="2021-11-09T09:46:44.598" v="783" actId="478"/>
          <ac:spMkLst>
            <pc:docMk/>
            <pc:sldMk cId="2116032937" sldId="2147378079"/>
            <ac:spMk id="26" creationId="{DF4A2B0A-AD50-47D4-8566-B1732287C010}"/>
          </ac:spMkLst>
        </pc:spChg>
        <pc:spChg chg="del">
          <ac:chgData name="Ekaterina Veselkova" userId="5ed5cb5c-b82d-4261-a35d-9158526644a8" providerId="ADAL" clId="{A9A9F67F-5F9A-4A4D-A191-F421342F4A20}" dt="2021-11-09T09:46:46.800" v="784" actId="478"/>
          <ac:spMkLst>
            <pc:docMk/>
            <pc:sldMk cId="2116032937" sldId="2147378079"/>
            <ac:spMk id="36" creationId="{D2CAD277-680B-45AB-84B7-B0F1D0113654}"/>
          </ac:spMkLst>
        </pc:spChg>
        <pc:spChg chg="del">
          <ac:chgData name="Ekaterina Veselkova" userId="5ed5cb5c-b82d-4261-a35d-9158526644a8" providerId="ADAL" clId="{A9A9F67F-5F9A-4A4D-A191-F421342F4A20}" dt="2021-11-09T09:47:09.612" v="789" actId="478"/>
          <ac:spMkLst>
            <pc:docMk/>
            <pc:sldMk cId="2116032937" sldId="2147378079"/>
            <ac:spMk id="38" creationId="{B7D981B7-B490-41BE-BE45-FF0735EB4D32}"/>
          </ac:spMkLst>
        </pc:spChg>
        <pc:spChg chg="del">
          <ac:chgData name="Ekaterina Veselkova" userId="5ed5cb5c-b82d-4261-a35d-9158526644a8" providerId="ADAL" clId="{A9A9F67F-5F9A-4A4D-A191-F421342F4A20}" dt="2021-11-09T09:51:40.184" v="854" actId="478"/>
          <ac:spMkLst>
            <pc:docMk/>
            <pc:sldMk cId="2116032937" sldId="2147378079"/>
            <ac:spMk id="39" creationId="{14794180-C4FD-4483-B23F-7B2FE81A35DA}"/>
          </ac:spMkLst>
        </pc:spChg>
        <pc:spChg chg="del mod">
          <ac:chgData name="Ekaterina Veselkova" userId="5ed5cb5c-b82d-4261-a35d-9158526644a8" providerId="ADAL" clId="{A9A9F67F-5F9A-4A4D-A191-F421342F4A20}" dt="2021-11-09T09:47:23.352" v="793" actId="478"/>
          <ac:spMkLst>
            <pc:docMk/>
            <pc:sldMk cId="2116032937" sldId="2147378079"/>
            <ac:spMk id="42" creationId="{FF5E7C84-5BDE-47AF-8B23-9A5692D69B08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51" creationId="{9EE7CB9F-9508-4934-95F9-63934FF79806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59" creationId="{46361613-BDAC-4E70-9310-95FC72116210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60" creationId="{33BE7FE9-E1B9-47E5-AB56-B3442F10BD97}"/>
          </ac:spMkLst>
        </pc:spChg>
        <pc:spChg chg="del">
          <ac:chgData name="Ekaterina Veselkova" userId="5ed5cb5c-b82d-4261-a35d-9158526644a8" providerId="ADAL" clId="{A9A9F67F-5F9A-4A4D-A191-F421342F4A20}" dt="2021-11-09T09:47:49.267" v="796" actId="478"/>
          <ac:spMkLst>
            <pc:docMk/>
            <pc:sldMk cId="2116032937" sldId="2147378079"/>
            <ac:spMk id="61" creationId="{B7D981B7-B490-41BE-BE45-FF0735EB4D32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62" creationId="{4833604F-9E1D-477A-AE20-C9EC1F8AC2E6}"/>
          </ac:spMkLst>
        </pc:spChg>
        <pc:spChg chg="del">
          <ac:chgData name="Ekaterina Veselkova" userId="5ed5cb5c-b82d-4261-a35d-9158526644a8" providerId="ADAL" clId="{A9A9F67F-5F9A-4A4D-A191-F421342F4A20}" dt="2021-11-09T09:46:44.598" v="783" actId="478"/>
          <ac:spMkLst>
            <pc:docMk/>
            <pc:sldMk cId="2116032937" sldId="2147378079"/>
            <ac:spMk id="64" creationId="{D2CAD277-680B-45AB-84B7-B0F1D0113654}"/>
          </ac:spMkLst>
        </pc:spChg>
        <pc:spChg chg="mod">
          <ac:chgData name="Ekaterina Veselkova" userId="5ed5cb5c-b82d-4261-a35d-9158526644a8" providerId="ADAL" clId="{A9A9F67F-5F9A-4A4D-A191-F421342F4A20}" dt="2021-11-09T09:48:18.926" v="802" actId="164"/>
          <ac:spMkLst>
            <pc:docMk/>
            <pc:sldMk cId="2116032937" sldId="2147378079"/>
            <ac:spMk id="68" creationId="{093D2E90-84E2-44F7-BB01-52F51886A601}"/>
          </ac:spMkLst>
        </pc:spChg>
        <pc:spChg chg="del">
          <ac:chgData name="Ekaterina Veselkova" userId="5ed5cb5c-b82d-4261-a35d-9158526644a8" providerId="ADAL" clId="{A9A9F67F-5F9A-4A4D-A191-F421342F4A20}" dt="2021-11-09T09:47:17.899" v="790" actId="478"/>
          <ac:spMkLst>
            <pc:docMk/>
            <pc:sldMk cId="2116032937" sldId="2147378079"/>
            <ac:spMk id="71" creationId="{2A5F5426-06AA-4357-B20C-78DAC42CCB73}"/>
          </ac:spMkLst>
        </pc:spChg>
        <pc:grpChg chg="add mod">
          <ac:chgData name="Ekaterina Veselkova" userId="5ed5cb5c-b82d-4261-a35d-9158526644a8" providerId="ADAL" clId="{A9A9F67F-5F9A-4A4D-A191-F421342F4A20}" dt="2021-11-09T09:48:27.183" v="804" actId="1076"/>
          <ac:grpSpMkLst>
            <pc:docMk/>
            <pc:sldMk cId="2116032937" sldId="2147378079"/>
            <ac:grpSpMk id="4" creationId="{78261BDC-8081-4DA5-B9FA-45B9DE0B7469}"/>
          </ac:grpSpMkLst>
        </pc:grpChg>
        <pc:grpChg chg="del">
          <ac:chgData name="Ekaterina Veselkova" userId="5ed5cb5c-b82d-4261-a35d-9158526644a8" providerId="ADAL" clId="{A9A9F67F-5F9A-4A4D-A191-F421342F4A20}" dt="2021-11-09T09:47:03.262" v="786" actId="478"/>
          <ac:grpSpMkLst>
            <pc:docMk/>
            <pc:sldMk cId="2116032937" sldId="2147378079"/>
            <ac:grpSpMk id="72" creationId="{944C14A8-23FF-4BDC-9525-ADDA1CE508F3}"/>
          </ac:grpSpMkLst>
        </pc:grpChg>
        <pc:grpChg chg="mod">
          <ac:chgData name="Ekaterina Veselkova" userId="5ed5cb5c-b82d-4261-a35d-9158526644a8" providerId="ADAL" clId="{A9A9F67F-5F9A-4A4D-A191-F421342F4A20}" dt="2021-11-09T09:48:18.926" v="802" actId="164"/>
          <ac:grpSpMkLst>
            <pc:docMk/>
            <pc:sldMk cId="2116032937" sldId="2147378079"/>
            <ac:grpSpMk id="73" creationId="{393AE8E8-C0B0-4E9E-825F-CD1CD68B2BBA}"/>
          </ac:grpSpMkLst>
        </pc:grpChg>
        <pc:grpChg chg="del">
          <ac:chgData name="Ekaterina Veselkova" userId="5ed5cb5c-b82d-4261-a35d-9158526644a8" providerId="ADAL" clId="{A9A9F67F-5F9A-4A4D-A191-F421342F4A20}" dt="2021-11-09T09:47:19.259" v="791" actId="478"/>
          <ac:grpSpMkLst>
            <pc:docMk/>
            <pc:sldMk cId="2116032937" sldId="2147378079"/>
            <ac:grpSpMk id="74" creationId="{9FF20CED-1677-4E7D-8BB2-00C92EBFB9C9}"/>
          </ac:grpSpMkLst>
        </pc:grpChg>
        <pc:picChg chg="del">
          <ac:chgData name="Ekaterina Veselkova" userId="5ed5cb5c-b82d-4261-a35d-9158526644a8" providerId="ADAL" clId="{A9A9F67F-5F9A-4A4D-A191-F421342F4A20}" dt="2021-11-09T09:47:52.254" v="797" actId="478"/>
          <ac:picMkLst>
            <pc:docMk/>
            <pc:sldMk cId="2116032937" sldId="2147378079"/>
            <ac:picMk id="12" creationId="{57A7AF28-D188-4BA7-BB13-E7213A1FA6A8}"/>
          </ac:picMkLst>
        </pc:picChg>
        <pc:picChg chg="del">
          <ac:chgData name="Ekaterina Veselkova" userId="5ed5cb5c-b82d-4261-a35d-9158526644a8" providerId="ADAL" clId="{A9A9F67F-5F9A-4A4D-A191-F421342F4A20}" dt="2021-11-09T09:51:41.110" v="855" actId="478"/>
          <ac:picMkLst>
            <pc:docMk/>
            <pc:sldMk cId="2116032937" sldId="2147378079"/>
            <ac:picMk id="40" creationId="{2A47713D-C835-468F-A4FF-6A2B51B79773}"/>
          </ac:picMkLst>
        </pc:picChg>
        <pc:picChg chg="del">
          <ac:chgData name="Ekaterina Veselkova" userId="5ed5cb5c-b82d-4261-a35d-9158526644a8" providerId="ADAL" clId="{A9A9F67F-5F9A-4A4D-A191-F421342F4A20}" dt="2021-11-09T09:51:41.652" v="856" actId="478"/>
          <ac:picMkLst>
            <pc:docMk/>
            <pc:sldMk cId="2116032937" sldId="2147378079"/>
            <ac:picMk id="41" creationId="{ED426DF4-7A5D-4596-B712-A00DB896B02C}"/>
          </ac:picMkLst>
        </pc:picChg>
        <pc:picChg chg="del">
          <ac:chgData name="Ekaterina Veselkova" userId="5ed5cb5c-b82d-4261-a35d-9158526644a8" providerId="ADAL" clId="{A9A9F67F-5F9A-4A4D-A191-F421342F4A20}" dt="2021-11-09T09:51:42.162" v="857" actId="478"/>
          <ac:picMkLst>
            <pc:docMk/>
            <pc:sldMk cId="2116032937" sldId="2147378079"/>
            <ac:picMk id="45" creationId="{3B66CC13-FA58-419F-8A66-437BD0F505B4}"/>
          </ac:picMkLst>
        </pc:picChg>
        <pc:picChg chg="del">
          <ac:chgData name="Ekaterina Veselkova" userId="5ed5cb5c-b82d-4261-a35d-9158526644a8" providerId="ADAL" clId="{A9A9F67F-5F9A-4A4D-A191-F421342F4A20}" dt="2021-11-09T09:51:42.612" v="858" actId="478"/>
          <ac:picMkLst>
            <pc:docMk/>
            <pc:sldMk cId="2116032937" sldId="2147378079"/>
            <ac:picMk id="46" creationId="{90768631-F648-4793-AADF-D5B33209DA2B}"/>
          </ac:picMkLst>
        </pc:picChg>
        <pc:picChg chg="mod">
          <ac:chgData name="Ekaterina Veselkova" userId="5ed5cb5c-b82d-4261-a35d-9158526644a8" providerId="ADAL" clId="{A9A9F67F-5F9A-4A4D-A191-F421342F4A20}" dt="2021-11-09T09:48:04.919" v="801" actId="1076"/>
          <ac:picMkLst>
            <pc:docMk/>
            <pc:sldMk cId="2116032937" sldId="2147378079"/>
            <ac:picMk id="48" creationId="{755A26BA-70C3-4076-8E19-87A5A05B558D}"/>
          </ac:picMkLst>
        </pc:picChg>
        <pc:picChg chg="del">
          <ac:chgData name="Ekaterina Veselkova" userId="5ed5cb5c-b82d-4261-a35d-9158526644a8" providerId="ADAL" clId="{A9A9F67F-5F9A-4A4D-A191-F421342F4A20}" dt="2021-11-09T09:47:07.498" v="788" actId="478"/>
          <ac:picMkLst>
            <pc:docMk/>
            <pc:sldMk cId="2116032937" sldId="2147378079"/>
            <ac:picMk id="49" creationId="{15546820-40A8-4DC5-9A88-8F3C5BB5837A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50" creationId="{B7B0B85C-05CC-4321-BA8F-B286456F31A0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54" creationId="{F405B9C3-4294-4D09-BE74-C1D2DACC09C2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55" creationId="{D6FB4078-4E8F-4CB8-92A7-56A207393D95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57" creationId="{2DB86253-65D9-469B-94F7-B4AAEF9FB6AF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58" creationId="{78FAFD3E-D340-47AB-8C53-C0E0FAD78A28}"/>
          </ac:picMkLst>
        </pc:picChg>
        <pc:picChg chg="del">
          <ac:chgData name="Ekaterina Veselkova" userId="5ed5cb5c-b82d-4261-a35d-9158526644a8" providerId="ADAL" clId="{A9A9F67F-5F9A-4A4D-A191-F421342F4A20}" dt="2021-11-09T09:46:44.598" v="783" actId="478"/>
          <ac:picMkLst>
            <pc:docMk/>
            <pc:sldMk cId="2116032937" sldId="2147378079"/>
            <ac:picMk id="63" creationId="{5D25F316-DF0C-4A2A-A237-6A7473DFAD7C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65" creationId="{2E8F0AAB-7BE3-4C5B-A4D2-840598427A1D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66" creationId="{ACF71A8D-6BBA-4973-87AB-CE2A2CD32827}"/>
          </ac:picMkLst>
        </pc:picChg>
        <pc:picChg chg="mod">
          <ac:chgData name="Ekaterina Veselkova" userId="5ed5cb5c-b82d-4261-a35d-9158526644a8" providerId="ADAL" clId="{A9A9F67F-5F9A-4A4D-A191-F421342F4A20}" dt="2021-11-09T09:48:18.926" v="802" actId="164"/>
          <ac:picMkLst>
            <pc:docMk/>
            <pc:sldMk cId="2116032937" sldId="2147378079"/>
            <ac:picMk id="67" creationId="{A560F64E-595B-47C7-9DFF-2D5CE8118D04}"/>
          </ac:picMkLst>
        </pc:picChg>
        <pc:picChg chg="add mod">
          <ac:chgData name="Ekaterina Veselkova" userId="5ed5cb5c-b82d-4261-a35d-9158526644a8" providerId="ADAL" clId="{A9A9F67F-5F9A-4A4D-A191-F421342F4A20}" dt="2021-11-09T09:52:06.330" v="861" actId="1076"/>
          <ac:picMkLst>
            <pc:docMk/>
            <pc:sldMk cId="2116032937" sldId="2147378079"/>
            <ac:picMk id="70" creationId="{2430184C-9DC7-4F66-8D73-E4B166CB8BBE}"/>
          </ac:picMkLst>
        </pc:picChg>
        <pc:cxnChg chg="del">
          <ac:chgData name="Ekaterina Veselkova" userId="5ed5cb5c-b82d-4261-a35d-9158526644a8" providerId="ADAL" clId="{A9A9F67F-5F9A-4A4D-A191-F421342F4A20}" dt="2021-11-09T09:47:46.322" v="794" actId="478"/>
          <ac:cxnSpMkLst>
            <pc:docMk/>
            <pc:sldMk cId="2116032937" sldId="2147378079"/>
            <ac:cxnSpMk id="8" creationId="{ADB683DC-6761-4050-B099-AAEC381DD4A0}"/>
          </ac:cxnSpMkLst>
        </pc:cxnChg>
        <pc:cxnChg chg="del">
          <ac:chgData name="Ekaterina Veselkova" userId="5ed5cb5c-b82d-4261-a35d-9158526644a8" providerId="ADAL" clId="{A9A9F67F-5F9A-4A4D-A191-F421342F4A20}" dt="2021-11-09T09:47:00.531" v="785" actId="478"/>
          <ac:cxnSpMkLst>
            <pc:docMk/>
            <pc:sldMk cId="2116032937" sldId="2147378079"/>
            <ac:cxnSpMk id="19" creationId="{44DD819D-E50C-4932-94D6-F27EAA7522E0}"/>
          </ac:cxnSpMkLst>
        </pc:cxnChg>
        <pc:cxnChg chg="del">
          <ac:chgData name="Ekaterina Veselkova" userId="5ed5cb5c-b82d-4261-a35d-9158526644a8" providerId="ADAL" clId="{A9A9F67F-5F9A-4A4D-A191-F421342F4A20}" dt="2021-11-09T09:47:58.444" v="799" actId="478"/>
          <ac:cxnSpMkLst>
            <pc:docMk/>
            <pc:sldMk cId="2116032937" sldId="2147378079"/>
            <ac:cxnSpMk id="25" creationId="{55A855BC-C00D-4B0A-A5FF-536CF5A0DA0F}"/>
          </ac:cxnSpMkLst>
        </pc:cxnChg>
        <pc:cxnChg chg="mod">
          <ac:chgData name="Ekaterina Veselkova" userId="5ed5cb5c-b82d-4261-a35d-9158526644a8" providerId="ADAL" clId="{A9A9F67F-5F9A-4A4D-A191-F421342F4A20}" dt="2021-11-09T09:48:18.926" v="802" actId="164"/>
          <ac:cxnSpMkLst>
            <pc:docMk/>
            <pc:sldMk cId="2116032937" sldId="2147378079"/>
            <ac:cxnSpMk id="43" creationId="{2D2A9F38-5C8F-4253-B3F8-B33C9C67F8F4}"/>
          </ac:cxnSpMkLst>
        </pc:cxnChg>
        <pc:cxnChg chg="mod">
          <ac:chgData name="Ekaterina Veselkova" userId="5ed5cb5c-b82d-4261-a35d-9158526644a8" providerId="ADAL" clId="{A9A9F67F-5F9A-4A4D-A191-F421342F4A20}" dt="2021-11-09T09:48:18.926" v="802" actId="164"/>
          <ac:cxnSpMkLst>
            <pc:docMk/>
            <pc:sldMk cId="2116032937" sldId="2147378079"/>
            <ac:cxnSpMk id="52" creationId="{32378640-4484-4306-97AE-53723F19FF2D}"/>
          </ac:cxnSpMkLst>
        </pc:cxnChg>
      </pc:sldChg>
      <pc:sldChg chg="modSp add mod">
        <pc:chgData name="Ekaterina Veselkova" userId="5ed5cb5c-b82d-4261-a35d-9158526644a8" providerId="ADAL" clId="{A9A9F67F-5F9A-4A4D-A191-F421342F4A20}" dt="2021-11-09T09:54:31.492" v="888" actId="20577"/>
        <pc:sldMkLst>
          <pc:docMk/>
          <pc:sldMk cId="4091755922" sldId="2147378079"/>
        </pc:sldMkLst>
        <pc:spChg chg="mod">
          <ac:chgData name="Ekaterina Veselkova" userId="5ed5cb5c-b82d-4261-a35d-9158526644a8" providerId="ADAL" clId="{A9A9F67F-5F9A-4A4D-A191-F421342F4A20}" dt="2021-11-09T09:54:31.492" v="888" actId="20577"/>
          <ac:spMkLst>
            <pc:docMk/>
            <pc:sldMk cId="4091755922" sldId="2147378079"/>
            <ac:spMk id="2" creationId="{00000000-0000-0000-0000-000000000000}"/>
          </ac:spMkLst>
        </pc:spChg>
      </pc:sldChg>
      <pc:sldChg chg="add del">
        <pc:chgData name="Ekaterina Veselkova" userId="5ed5cb5c-b82d-4261-a35d-9158526644a8" providerId="ADAL" clId="{A9A9F67F-5F9A-4A4D-A191-F421342F4A20}" dt="2021-11-09T09:54:00.300" v="882" actId="2696"/>
        <pc:sldMkLst>
          <pc:docMk/>
          <pc:sldMk cId="1834808940" sldId="2147378085"/>
        </pc:sldMkLst>
      </pc:sldChg>
      <pc:sldChg chg="add del">
        <pc:chgData name="Ekaterina Veselkova" userId="5ed5cb5c-b82d-4261-a35d-9158526644a8" providerId="ADAL" clId="{A9A9F67F-5F9A-4A4D-A191-F421342F4A20}" dt="2021-11-09T09:53:24.533" v="872"/>
        <pc:sldMkLst>
          <pc:docMk/>
          <pc:sldMk cId="2002874118" sldId="2147378085"/>
        </pc:sldMkLst>
      </pc:sldChg>
      <pc:sldChg chg="addSp modSp add mod">
        <pc:chgData name="Ekaterina Veselkova" userId="5ed5cb5c-b82d-4261-a35d-9158526644a8" providerId="ADAL" clId="{A9A9F67F-5F9A-4A4D-A191-F421342F4A20}" dt="2021-11-09T09:55:44.085" v="903" actId="208"/>
        <pc:sldMkLst>
          <pc:docMk/>
          <pc:sldMk cId="3106480161" sldId="2147378085"/>
        </pc:sldMkLst>
        <pc:spChg chg="mod">
          <ac:chgData name="Ekaterina Veselkova" userId="5ed5cb5c-b82d-4261-a35d-9158526644a8" providerId="ADAL" clId="{A9A9F67F-5F9A-4A4D-A191-F421342F4A20}" dt="2021-11-09T09:54:59.510" v="891" actId="20577"/>
          <ac:spMkLst>
            <pc:docMk/>
            <pc:sldMk cId="3106480161" sldId="2147378085"/>
            <ac:spMk id="6" creationId="{B47E2E21-210B-4EB3-862A-976400F714CD}"/>
          </ac:spMkLst>
        </pc:spChg>
        <pc:spChg chg="add mod">
          <ac:chgData name="Ekaterina Veselkova" userId="5ed5cb5c-b82d-4261-a35d-9158526644a8" providerId="ADAL" clId="{A9A9F67F-5F9A-4A4D-A191-F421342F4A20}" dt="2021-11-09T09:55:25.117" v="898" actId="1076"/>
          <ac:spMkLst>
            <pc:docMk/>
            <pc:sldMk cId="3106480161" sldId="2147378085"/>
            <ac:spMk id="8" creationId="{C1DEF27B-D1A5-40F8-B6C0-E7062C434CEA}"/>
          </ac:spMkLst>
        </pc:spChg>
        <pc:picChg chg="mod">
          <ac:chgData name="Ekaterina Veselkova" userId="5ed5cb5c-b82d-4261-a35d-9158526644a8" providerId="ADAL" clId="{A9A9F67F-5F9A-4A4D-A191-F421342F4A20}" dt="2021-11-09T09:55:42.382" v="902" actId="208"/>
          <ac:picMkLst>
            <pc:docMk/>
            <pc:sldMk cId="3106480161" sldId="2147378085"/>
            <ac:picMk id="3" creationId="{ECA05E57-0A59-488C-8BD2-7C59131030DC}"/>
          </ac:picMkLst>
        </pc:picChg>
        <pc:picChg chg="mod">
          <ac:chgData name="Ekaterina Veselkova" userId="5ed5cb5c-b82d-4261-a35d-9158526644a8" providerId="ADAL" clId="{A9A9F67F-5F9A-4A4D-A191-F421342F4A20}" dt="2021-11-09T09:55:44.085" v="903" actId="208"/>
          <ac:picMkLst>
            <pc:docMk/>
            <pc:sldMk cId="3106480161" sldId="2147378085"/>
            <ac:picMk id="4" creationId="{4D92FB90-48B4-424E-B367-5A7FD5D8FB62}"/>
          </ac:picMkLst>
        </pc:picChg>
        <pc:picChg chg="mod">
          <ac:chgData name="Ekaterina Veselkova" userId="5ed5cb5c-b82d-4261-a35d-9158526644a8" providerId="ADAL" clId="{A9A9F67F-5F9A-4A4D-A191-F421342F4A20}" dt="2021-11-09T09:55:40.907" v="901" actId="208"/>
          <ac:picMkLst>
            <pc:docMk/>
            <pc:sldMk cId="3106480161" sldId="2147378085"/>
            <ac:picMk id="5" creationId="{E563FF73-F0AE-4D09-BB5D-91CB0EB3CC0A}"/>
          </ac:picMkLst>
        </pc:picChg>
        <pc:picChg chg="add mod">
          <ac:chgData name="Ekaterina Veselkova" userId="5ed5cb5c-b82d-4261-a35d-9158526644a8" providerId="ADAL" clId="{A9A9F67F-5F9A-4A4D-A191-F421342F4A20}" dt="2021-11-09T09:55:35.574" v="900" actId="1076"/>
          <ac:picMkLst>
            <pc:docMk/>
            <pc:sldMk cId="3106480161" sldId="2147378085"/>
            <ac:picMk id="9" creationId="{995DD33A-EB8B-4F39-937A-654769BCD2C0}"/>
          </ac:picMkLst>
        </pc:picChg>
      </pc:sldChg>
      <pc:sldChg chg="addSp delSp modSp add del mod">
        <pc:chgData name="Ekaterina Veselkova" userId="5ed5cb5c-b82d-4261-a35d-9158526644a8" providerId="ADAL" clId="{A9A9F67F-5F9A-4A4D-A191-F421342F4A20}" dt="2021-11-09T09:53:36.976" v="878" actId="2696"/>
        <pc:sldMkLst>
          <pc:docMk/>
          <pc:sldMk cId="2953177935" sldId="2147378086"/>
        </pc:sldMkLst>
        <pc:spChg chg="mod">
          <ac:chgData name="Ekaterina Veselkova" userId="5ed5cb5c-b82d-4261-a35d-9158526644a8" providerId="ADAL" clId="{A9A9F67F-5F9A-4A4D-A191-F421342F4A20}" dt="2021-11-09T09:39:01.797" v="721" actId="1076"/>
          <ac:spMkLst>
            <pc:docMk/>
            <pc:sldMk cId="2953177935" sldId="2147378086"/>
            <ac:spMk id="3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50:09.292" v="831" actId="20577"/>
          <ac:spMkLst>
            <pc:docMk/>
            <pc:sldMk cId="2953177935" sldId="2147378086"/>
            <ac:spMk id="4" creationId="{00000000-0000-0000-0000-000000000000}"/>
          </ac:spMkLst>
        </pc:spChg>
        <pc:spChg chg="add mod">
          <ac:chgData name="Ekaterina Veselkova" userId="5ed5cb5c-b82d-4261-a35d-9158526644a8" providerId="ADAL" clId="{A9A9F67F-5F9A-4A4D-A191-F421342F4A20}" dt="2021-11-09T09:51:30.752" v="853" actId="207"/>
          <ac:spMkLst>
            <pc:docMk/>
            <pc:sldMk cId="2953177935" sldId="2147378086"/>
            <ac:spMk id="11" creationId="{97668A97-AEDC-4C16-B744-FA6649DE73D4}"/>
          </ac:spMkLst>
        </pc:spChg>
        <pc:spChg chg="mod">
          <ac:chgData name="Ekaterina Veselkova" userId="5ed5cb5c-b82d-4261-a35d-9158526644a8" providerId="ADAL" clId="{A9A9F67F-5F9A-4A4D-A191-F421342F4A20}" dt="2021-11-09T09:43:04.507" v="756" actId="1076"/>
          <ac:spMkLst>
            <pc:docMk/>
            <pc:sldMk cId="2953177935" sldId="2147378086"/>
            <ac:spMk id="52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3:04.507" v="756" actId="1076"/>
          <ac:spMkLst>
            <pc:docMk/>
            <pc:sldMk cId="2953177935" sldId="2147378086"/>
            <ac:spMk id="53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3:50.939" v="770" actId="20577"/>
          <ac:spMkLst>
            <pc:docMk/>
            <pc:sldMk cId="2953177935" sldId="2147378086"/>
            <ac:spMk id="56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58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6.129" v="755" actId="1076"/>
          <ac:spMkLst>
            <pc:docMk/>
            <pc:sldMk cId="2953177935" sldId="2147378086"/>
            <ac:spMk id="59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3:48.824" v="767" actId="20577"/>
          <ac:spMkLst>
            <pc:docMk/>
            <pc:sldMk cId="2953177935" sldId="2147378086"/>
            <ac:spMk id="60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61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1:39.652" v="740" actId="164"/>
          <ac:spMkLst>
            <pc:docMk/>
            <pc:sldMk cId="2953177935" sldId="2147378086"/>
            <ac:spMk id="72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1:39.652" v="740" actId="164"/>
          <ac:spMkLst>
            <pc:docMk/>
            <pc:sldMk cId="2953177935" sldId="2147378086"/>
            <ac:spMk id="73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01.708" v="745" actId="1076"/>
          <ac:spMkLst>
            <pc:docMk/>
            <pc:sldMk cId="2953177935" sldId="2147378086"/>
            <ac:spMk id="74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115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3:04.507" v="756" actId="1076"/>
          <ac:spMkLst>
            <pc:docMk/>
            <pc:sldMk cId="2953177935" sldId="2147378086"/>
            <ac:spMk id="127" creationId="{00000000-0000-0000-0000-000000000000}"/>
          </ac:spMkLst>
        </pc:spChg>
        <pc:spChg chg="del mod">
          <ac:chgData name="Ekaterina Veselkova" userId="5ed5cb5c-b82d-4261-a35d-9158526644a8" providerId="ADAL" clId="{A9A9F67F-5F9A-4A4D-A191-F421342F4A20}" dt="2021-11-09T09:40:43.770" v="731" actId="478"/>
          <ac:spMkLst>
            <pc:docMk/>
            <pc:sldMk cId="2953177935" sldId="2147378086"/>
            <ac:spMk id="128" creationId="{6039BB23-8E57-49A9-B613-8ECEF3E5D120}"/>
          </ac:spMkLst>
        </pc:spChg>
        <pc:spChg chg="add mod">
          <ac:chgData name="Ekaterina Veselkova" userId="5ed5cb5c-b82d-4261-a35d-9158526644a8" providerId="ADAL" clId="{A9A9F67F-5F9A-4A4D-A191-F421342F4A20}" dt="2021-11-09T09:46:00.165" v="781" actId="1076"/>
          <ac:spMkLst>
            <pc:docMk/>
            <pc:sldMk cId="2953177935" sldId="2147378086"/>
            <ac:spMk id="133" creationId="{EEBDAD54-0ED5-4AB6-B169-2801B4E189D4}"/>
          </ac:spMkLst>
        </pc:spChg>
        <pc:spChg chg="add del mod">
          <ac:chgData name="Ekaterina Veselkova" userId="5ed5cb5c-b82d-4261-a35d-9158526644a8" providerId="ADAL" clId="{A9A9F67F-5F9A-4A4D-A191-F421342F4A20}" dt="2021-11-09T09:50:56.116" v="845" actId="478"/>
          <ac:spMkLst>
            <pc:docMk/>
            <pc:sldMk cId="2953177935" sldId="2147378086"/>
            <ac:spMk id="134" creationId="{F36CECA2-EA29-4BF9-8B71-93974B5BC158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45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46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47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79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80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81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82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183" creationId="{00000000-0000-0000-0000-000000000000}"/>
          </ac:spMkLst>
        </pc:spChg>
        <pc:spChg chg="del">
          <ac:chgData name="Ekaterina Veselkova" userId="5ed5cb5c-b82d-4261-a35d-9158526644a8" providerId="ADAL" clId="{A9A9F67F-5F9A-4A4D-A191-F421342F4A20}" dt="2021-11-09T09:38:32.561" v="717" actId="478"/>
          <ac:spMkLst>
            <pc:docMk/>
            <pc:sldMk cId="2953177935" sldId="2147378086"/>
            <ac:spMk id="314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356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357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358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359" creationId="{00000000-0000-0000-0000-000000000000}"/>
          </ac:spMkLst>
        </pc:spChg>
        <pc:spChg chg="mod">
          <ac:chgData name="Ekaterina Veselkova" userId="5ed5cb5c-b82d-4261-a35d-9158526644a8" providerId="ADAL" clId="{A9A9F67F-5F9A-4A4D-A191-F421342F4A20}" dt="2021-11-09T09:42:40.171" v="754" actId="1076"/>
          <ac:spMkLst>
            <pc:docMk/>
            <pc:sldMk cId="2953177935" sldId="2147378086"/>
            <ac:spMk id="360" creationId="{00000000-0000-0000-0000-000000000000}"/>
          </ac:spMkLst>
        </pc:spChg>
        <pc:grpChg chg="add mod">
          <ac:chgData name="Ekaterina Veselkova" userId="5ed5cb5c-b82d-4261-a35d-9158526644a8" providerId="ADAL" clId="{A9A9F67F-5F9A-4A4D-A191-F421342F4A20}" dt="2021-11-09T09:45:57.845" v="780" actId="1076"/>
          <ac:grpSpMkLst>
            <pc:docMk/>
            <pc:sldMk cId="2953177935" sldId="2147378086"/>
            <ac:grpSpMk id="2" creationId="{DE0F41F5-976C-4443-8155-9AD1E9A1AC6F}"/>
          </ac:grpSpMkLst>
        </pc:grpChg>
        <pc:grpChg chg="mod">
          <ac:chgData name="Ekaterina Veselkova" userId="5ed5cb5c-b82d-4261-a35d-9158526644a8" providerId="ADAL" clId="{A9A9F67F-5F9A-4A4D-A191-F421342F4A20}" dt="2021-11-09T09:43:04.507" v="756" actId="1076"/>
          <ac:grpSpMkLst>
            <pc:docMk/>
            <pc:sldMk cId="2953177935" sldId="2147378086"/>
            <ac:grpSpMk id="6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3:04.507" v="756" actId="1076"/>
          <ac:grpSpMkLst>
            <pc:docMk/>
            <pc:sldMk cId="2953177935" sldId="2147378086"/>
            <ac:grpSpMk id="7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3:04.507" v="756" actId="1076"/>
          <ac:grpSpMkLst>
            <pc:docMk/>
            <pc:sldMk cId="2953177935" sldId="2147378086"/>
            <ac:grpSpMk id="8" creationId="{00000000-0000-0000-0000-000000000000}"/>
          </ac:grpSpMkLst>
        </pc:grpChg>
        <pc:grpChg chg="del">
          <ac:chgData name="Ekaterina Veselkova" userId="5ed5cb5c-b82d-4261-a35d-9158526644a8" providerId="ADAL" clId="{A9A9F67F-5F9A-4A4D-A191-F421342F4A20}" dt="2021-11-09T09:38:32.561" v="717" actId="478"/>
          <ac:grpSpMkLst>
            <pc:docMk/>
            <pc:sldMk cId="2953177935" sldId="2147378086"/>
            <ac:grpSpMk id="28" creationId="{00000000-0000-0000-0000-000000000000}"/>
          </ac:grpSpMkLst>
        </pc:grpChg>
        <pc:grpChg chg="del">
          <ac:chgData name="Ekaterina Veselkova" userId="5ed5cb5c-b82d-4261-a35d-9158526644a8" providerId="ADAL" clId="{A9A9F67F-5F9A-4A4D-A191-F421342F4A20}" dt="2021-11-09T09:38:32.561" v="717" actId="478"/>
          <ac:grpSpMkLst>
            <pc:docMk/>
            <pc:sldMk cId="2953177935" sldId="2147378086"/>
            <ac:grpSpMk id="40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3:04.507" v="756" actId="1076"/>
          <ac:grpSpMkLst>
            <pc:docMk/>
            <pc:sldMk cId="2953177935" sldId="2147378086"/>
            <ac:grpSpMk id="121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1:39.652" v="740" actId="164"/>
          <ac:grpSpMkLst>
            <pc:docMk/>
            <pc:sldMk cId="2953177935" sldId="2147378086"/>
            <ac:grpSpMk id="229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2:40.171" v="754" actId="1076"/>
          <ac:grpSpMkLst>
            <pc:docMk/>
            <pc:sldMk cId="2953177935" sldId="2147378086"/>
            <ac:grpSpMk id="335" creationId="{00000000-0000-0000-0000-000000000000}"/>
          </ac:grpSpMkLst>
        </pc:grpChg>
        <pc:grpChg chg="mod">
          <ac:chgData name="Ekaterina Veselkova" userId="5ed5cb5c-b82d-4261-a35d-9158526644a8" providerId="ADAL" clId="{A9A9F67F-5F9A-4A4D-A191-F421342F4A20}" dt="2021-11-09T09:42:40.171" v="754" actId="1076"/>
          <ac:grpSpMkLst>
            <pc:docMk/>
            <pc:sldMk cId="2953177935" sldId="2147378086"/>
            <ac:grpSpMk id="352" creationId="{00000000-0000-0000-0000-000000000000}"/>
          </ac:grpSpMkLst>
        </pc:grpChg>
        <pc:grpChg chg="del">
          <ac:chgData name="Ekaterina Veselkova" userId="5ed5cb5c-b82d-4261-a35d-9158526644a8" providerId="ADAL" clId="{A9A9F67F-5F9A-4A4D-A191-F421342F4A20}" dt="2021-11-09T09:38:32.561" v="717" actId="478"/>
          <ac:grpSpMkLst>
            <pc:docMk/>
            <pc:sldMk cId="2953177935" sldId="2147378086"/>
            <ac:grpSpMk id="363" creationId="{00000000-0000-0000-0000-000000000000}"/>
          </ac:grpSpMkLst>
        </pc:grpChg>
        <pc:picChg chg="add del">
          <ac:chgData name="Ekaterina Veselkova" userId="5ed5cb5c-b82d-4261-a35d-9158526644a8" providerId="ADAL" clId="{A9A9F67F-5F9A-4A4D-A191-F421342F4A20}" dt="2021-11-09T09:44:11.784" v="773"/>
          <ac:picMkLst>
            <pc:docMk/>
            <pc:sldMk cId="2953177935" sldId="2147378086"/>
            <ac:picMk id="9" creationId="{E9498A08-AE28-41D6-B60F-BD0DC5DB1370}"/>
          </ac:picMkLst>
        </pc:picChg>
        <pc:picChg chg="add del">
          <ac:chgData name="Ekaterina Veselkova" userId="5ed5cb5c-b82d-4261-a35d-9158526644a8" providerId="ADAL" clId="{A9A9F67F-5F9A-4A4D-A191-F421342F4A20}" dt="2021-11-09T09:44:37.694" v="775"/>
          <ac:picMkLst>
            <pc:docMk/>
            <pc:sldMk cId="2953177935" sldId="2147378086"/>
            <ac:picMk id="10" creationId="{8F0BBBC1-6309-45D0-A221-49D5114F88D6}"/>
          </ac:picMkLst>
        </pc:picChg>
        <pc:picChg chg="del">
          <ac:chgData name="Ekaterina Veselkova" userId="5ed5cb5c-b82d-4261-a35d-9158526644a8" providerId="ADAL" clId="{A9A9F67F-5F9A-4A4D-A191-F421342F4A20}" dt="2021-11-09T09:38:34.614" v="718" actId="478"/>
          <ac:picMkLst>
            <pc:docMk/>
            <pc:sldMk cId="2953177935" sldId="2147378086"/>
            <ac:picMk id="70" creationId="{00000000-0000-0000-0000-000000000000}"/>
          </ac:picMkLst>
        </pc:picChg>
        <pc:picChg chg="mod">
          <ac:chgData name="Ekaterina Veselkova" userId="5ed5cb5c-b82d-4261-a35d-9158526644a8" providerId="ADAL" clId="{A9A9F67F-5F9A-4A4D-A191-F421342F4A20}" dt="2021-11-09T09:42:40.171" v="754" actId="1076"/>
          <ac:picMkLst>
            <pc:docMk/>
            <pc:sldMk cId="2953177935" sldId="2147378086"/>
            <ac:picMk id="109" creationId="{00000000-0000-0000-0000-000000000000}"/>
          </ac:picMkLst>
        </pc:picChg>
        <pc:picChg chg="mod">
          <ac:chgData name="Ekaterina Veselkova" userId="5ed5cb5c-b82d-4261-a35d-9158526644a8" providerId="ADAL" clId="{A9A9F67F-5F9A-4A4D-A191-F421342F4A20}" dt="2021-11-09T09:42:40.171" v="754" actId="1076"/>
          <ac:picMkLst>
            <pc:docMk/>
            <pc:sldMk cId="2953177935" sldId="2147378086"/>
            <ac:picMk id="110" creationId="{00000000-0000-0000-0000-000000000000}"/>
          </ac:picMkLst>
        </pc:picChg>
        <pc:picChg chg="mod">
          <ac:chgData name="Ekaterina Veselkova" userId="5ed5cb5c-b82d-4261-a35d-9158526644a8" providerId="ADAL" clId="{A9A9F67F-5F9A-4A4D-A191-F421342F4A20}" dt="2021-11-09T09:42:40.171" v="754" actId="1076"/>
          <ac:picMkLst>
            <pc:docMk/>
            <pc:sldMk cId="2953177935" sldId="2147378086"/>
            <ac:picMk id="114" creationId="{00000000-0000-0000-0000-000000000000}"/>
          </ac:picMkLst>
        </pc:picChg>
        <pc:picChg chg="del">
          <ac:chgData name="Ekaterina Veselkova" userId="5ed5cb5c-b82d-4261-a35d-9158526644a8" providerId="ADAL" clId="{A9A9F67F-5F9A-4A4D-A191-F421342F4A20}" dt="2021-11-09T09:40:45.266" v="733" actId="478"/>
          <ac:picMkLst>
            <pc:docMk/>
            <pc:sldMk cId="2953177935" sldId="2147378086"/>
            <ac:picMk id="129" creationId="{48650B99-0372-4365-B37A-18758AA4CD83}"/>
          </ac:picMkLst>
        </pc:picChg>
        <pc:picChg chg="del">
          <ac:chgData name="Ekaterina Veselkova" userId="5ed5cb5c-b82d-4261-a35d-9158526644a8" providerId="ADAL" clId="{A9A9F67F-5F9A-4A4D-A191-F421342F4A20}" dt="2021-11-09T09:40:44.634" v="732" actId="478"/>
          <ac:picMkLst>
            <pc:docMk/>
            <pc:sldMk cId="2953177935" sldId="2147378086"/>
            <ac:picMk id="130" creationId="{8C73EA81-BC3E-4823-A541-9AA5C28472D9}"/>
          </ac:picMkLst>
        </pc:picChg>
        <pc:picChg chg="del">
          <ac:chgData name="Ekaterina Veselkova" userId="5ed5cb5c-b82d-4261-a35d-9158526644a8" providerId="ADAL" clId="{A9A9F67F-5F9A-4A4D-A191-F421342F4A20}" dt="2021-11-09T09:40:45.906" v="734" actId="478"/>
          <ac:picMkLst>
            <pc:docMk/>
            <pc:sldMk cId="2953177935" sldId="2147378086"/>
            <ac:picMk id="131" creationId="{981199F3-4F31-4F76-9D94-23CF9AFA5D2B}"/>
          </ac:picMkLst>
        </pc:picChg>
        <pc:picChg chg="del">
          <ac:chgData name="Ekaterina Veselkova" userId="5ed5cb5c-b82d-4261-a35d-9158526644a8" providerId="ADAL" clId="{A9A9F67F-5F9A-4A4D-A191-F421342F4A20}" dt="2021-11-09T09:40:46.439" v="735" actId="478"/>
          <ac:picMkLst>
            <pc:docMk/>
            <pc:sldMk cId="2953177935" sldId="2147378086"/>
            <ac:picMk id="132" creationId="{D446EA6D-272B-4697-85A9-00BED82D5E3D}"/>
          </ac:picMkLst>
        </pc:picChg>
        <pc:picChg chg="add del mod">
          <ac:chgData name="Ekaterina Veselkova" userId="5ed5cb5c-b82d-4261-a35d-9158526644a8" providerId="ADAL" clId="{A9A9F67F-5F9A-4A4D-A191-F421342F4A20}" dt="2021-11-09T09:50:59.737" v="847" actId="478"/>
          <ac:picMkLst>
            <pc:docMk/>
            <pc:sldMk cId="2953177935" sldId="2147378086"/>
            <ac:picMk id="135" creationId="{ABB781B9-1FA5-47A3-A674-3C2ED99766AF}"/>
          </ac:picMkLst>
        </pc:picChg>
        <pc:picChg chg="add del mod">
          <ac:chgData name="Ekaterina Veselkova" userId="5ed5cb5c-b82d-4261-a35d-9158526644a8" providerId="ADAL" clId="{A9A9F67F-5F9A-4A4D-A191-F421342F4A20}" dt="2021-11-09T09:51:00.257" v="848" actId="478"/>
          <ac:picMkLst>
            <pc:docMk/>
            <pc:sldMk cId="2953177935" sldId="2147378086"/>
            <ac:picMk id="136" creationId="{ADB108C5-A0CC-4802-88A6-F64C8083B8F7}"/>
          </ac:picMkLst>
        </pc:picChg>
        <pc:picChg chg="add del mod">
          <ac:chgData name="Ekaterina Veselkova" userId="5ed5cb5c-b82d-4261-a35d-9158526644a8" providerId="ADAL" clId="{A9A9F67F-5F9A-4A4D-A191-F421342F4A20}" dt="2021-11-09T09:51:00.654" v="849" actId="478"/>
          <ac:picMkLst>
            <pc:docMk/>
            <pc:sldMk cId="2953177935" sldId="2147378086"/>
            <ac:picMk id="137" creationId="{DE4DEEF3-C558-4E81-B190-31CC67EEAC49}"/>
          </ac:picMkLst>
        </pc:picChg>
        <pc:picChg chg="add del mod">
          <ac:chgData name="Ekaterina Veselkova" userId="5ed5cb5c-b82d-4261-a35d-9158526644a8" providerId="ADAL" clId="{A9A9F67F-5F9A-4A4D-A191-F421342F4A20}" dt="2021-11-09T09:50:59.177" v="846" actId="478"/>
          <ac:picMkLst>
            <pc:docMk/>
            <pc:sldMk cId="2953177935" sldId="2147378086"/>
            <ac:picMk id="138" creationId="{BECDED5E-F122-4A5F-B1DE-04FEDA188A6F}"/>
          </ac:picMkLst>
        </pc:picChg>
        <pc:picChg chg="add mod">
          <ac:chgData name="Ekaterina Veselkova" userId="5ed5cb5c-b82d-4261-a35d-9158526644a8" providerId="ADAL" clId="{A9A9F67F-5F9A-4A4D-A191-F421342F4A20}" dt="2021-11-09T09:51:56.232" v="859"/>
          <ac:picMkLst>
            <pc:docMk/>
            <pc:sldMk cId="2953177935" sldId="2147378086"/>
            <ac:picMk id="139" creationId="{E24A4649-FECA-4BC5-A695-5F632C8F9A1C}"/>
          </ac:picMkLst>
        </pc:picChg>
        <pc:picChg chg="del">
          <ac:chgData name="Ekaterina Veselkova" userId="5ed5cb5c-b82d-4261-a35d-9158526644a8" providerId="ADAL" clId="{A9A9F67F-5F9A-4A4D-A191-F421342F4A20}" dt="2021-11-09T09:38:32.561" v="717" actId="478"/>
          <ac:picMkLst>
            <pc:docMk/>
            <pc:sldMk cId="2953177935" sldId="2147378086"/>
            <ac:picMk id="170" creationId="{00000000-0000-0000-0000-000000000000}"/>
          </ac:picMkLst>
        </pc:picChg>
        <pc:picChg chg="del">
          <ac:chgData name="Ekaterina Veselkova" userId="5ed5cb5c-b82d-4261-a35d-9158526644a8" providerId="ADAL" clId="{A9A9F67F-5F9A-4A4D-A191-F421342F4A20}" dt="2021-11-09T09:38:32.561" v="717" actId="478"/>
          <ac:picMkLst>
            <pc:docMk/>
            <pc:sldMk cId="2953177935" sldId="2147378086"/>
            <ac:picMk id="171" creationId="{00000000-0000-0000-0000-000000000000}"/>
          </ac:picMkLst>
        </pc:picChg>
        <pc:picChg chg="del">
          <ac:chgData name="Ekaterina Veselkova" userId="5ed5cb5c-b82d-4261-a35d-9158526644a8" providerId="ADAL" clId="{A9A9F67F-5F9A-4A4D-A191-F421342F4A20}" dt="2021-11-09T09:38:32.561" v="717" actId="478"/>
          <ac:picMkLst>
            <pc:docMk/>
            <pc:sldMk cId="2953177935" sldId="2147378086"/>
            <ac:picMk id="172" creationId="{00000000-0000-0000-0000-000000000000}"/>
          </ac:picMkLst>
        </pc:picChg>
        <pc:cxnChg chg="del">
          <ac:chgData name="Ekaterina Veselkova" userId="5ed5cb5c-b82d-4261-a35d-9158526644a8" providerId="ADAL" clId="{A9A9F67F-5F9A-4A4D-A191-F421342F4A20}" dt="2021-11-09T09:38:32.561" v="717" actId="478"/>
          <ac:cxnSpMkLst>
            <pc:docMk/>
            <pc:sldMk cId="2953177935" sldId="2147378086"/>
            <ac:cxnSpMk id="184" creationId="{00000000-0000-0000-0000-000000000000}"/>
          </ac:cxnSpMkLst>
        </pc:cxnChg>
        <pc:cxnChg chg="del">
          <ac:chgData name="Ekaterina Veselkova" userId="5ed5cb5c-b82d-4261-a35d-9158526644a8" providerId="ADAL" clId="{A9A9F67F-5F9A-4A4D-A191-F421342F4A20}" dt="2021-11-09T09:38:32.561" v="717" actId="478"/>
          <ac:cxnSpMkLst>
            <pc:docMk/>
            <pc:sldMk cId="2953177935" sldId="2147378086"/>
            <ac:cxnSpMk id="313" creationId="{00000000-0000-0000-0000-000000000000}"/>
          </ac:cxnSpMkLst>
        </pc:cxnChg>
      </pc:sldChg>
      <pc:sldChg chg="add del">
        <pc:chgData name="Ekaterina Veselkova" userId="5ed5cb5c-b82d-4261-a35d-9158526644a8" providerId="ADAL" clId="{A9A9F67F-5F9A-4A4D-A191-F421342F4A20}" dt="2021-11-09T09:53:28.278" v="876"/>
        <pc:sldMkLst>
          <pc:docMk/>
          <pc:sldMk cId="3935942065" sldId="2147378086"/>
        </pc:sldMkLst>
      </pc:sldChg>
      <pc:sldChg chg="modSp add mod">
        <pc:chgData name="Ekaterina Veselkova" userId="5ed5cb5c-b82d-4261-a35d-9158526644a8" providerId="ADAL" clId="{A9A9F67F-5F9A-4A4D-A191-F421342F4A20}" dt="2021-11-09T09:54:47.146" v="889" actId="20577"/>
        <pc:sldMkLst>
          <pc:docMk/>
          <pc:sldMk cId="4210414283" sldId="2147378086"/>
        </pc:sldMkLst>
        <pc:spChg chg="mod">
          <ac:chgData name="Ekaterina Veselkova" userId="5ed5cb5c-b82d-4261-a35d-9158526644a8" providerId="ADAL" clId="{A9A9F67F-5F9A-4A4D-A191-F421342F4A20}" dt="2021-11-09T09:54:47.146" v="889" actId="20577"/>
          <ac:spMkLst>
            <pc:docMk/>
            <pc:sldMk cId="4210414283" sldId="2147378086"/>
            <ac:spMk id="3" creationId="{00000000-0000-0000-0000-000000000000}"/>
          </ac:spMkLst>
        </pc:spChg>
      </pc:sldChg>
      <pc:sldChg chg="add del">
        <pc:chgData name="Ekaterina Veselkova" userId="5ed5cb5c-b82d-4261-a35d-9158526644a8" providerId="ADAL" clId="{A9A9F67F-5F9A-4A4D-A191-F421342F4A20}" dt="2021-11-09T09:55:54.700" v="904" actId="2696"/>
        <pc:sldMkLst>
          <pc:docMk/>
          <pc:sldMk cId="1403983039" sldId="2147378087"/>
        </pc:sldMkLst>
      </pc:sldChg>
      <pc:sldChg chg="add del">
        <pc:chgData name="Ekaterina Veselkova" userId="5ed5cb5c-b82d-4261-a35d-9158526644a8" providerId="ADAL" clId="{A9A9F67F-5F9A-4A4D-A191-F421342F4A20}" dt="2021-11-09T10:42:35.908" v="907" actId="47"/>
        <pc:sldMkLst>
          <pc:docMk/>
          <pc:sldMk cId="2340541125" sldId="2147378087"/>
        </pc:sldMkLst>
      </pc:sldChg>
      <pc:sldChg chg="add del">
        <pc:chgData name="Ekaterina Veselkova" userId="5ed5cb5c-b82d-4261-a35d-9158526644a8" providerId="ADAL" clId="{A9A9F67F-5F9A-4A4D-A191-F421342F4A20}" dt="2021-11-03T12:24:22.577" v="10"/>
        <pc:sldMkLst>
          <pc:docMk/>
          <pc:sldMk cId="2963366744" sldId="2147378087"/>
        </pc:sldMkLst>
      </pc:sldChg>
      <pc:sldMasterChg chg="delSldLayout">
        <pc:chgData name="Ekaterina Veselkova" userId="5ed5cb5c-b82d-4261-a35d-9158526644a8" providerId="ADAL" clId="{A9A9F67F-5F9A-4A4D-A191-F421342F4A20}" dt="2021-11-03T12:42:51.454" v="705" actId="47"/>
        <pc:sldMasterMkLst>
          <pc:docMk/>
          <pc:sldMasterMk cId="4049662272" sldId="2147483686"/>
        </pc:sldMasterMkLst>
        <pc:sldLayoutChg chg="del">
          <pc:chgData name="Ekaterina Veselkova" userId="5ed5cb5c-b82d-4261-a35d-9158526644a8" providerId="ADAL" clId="{A9A9F67F-5F9A-4A4D-A191-F421342F4A20}" dt="2021-11-03T12:42:51.454" v="705" actId="47"/>
          <pc:sldLayoutMkLst>
            <pc:docMk/>
            <pc:sldMasterMk cId="4049662272" sldId="2147483686"/>
            <pc:sldLayoutMk cId="465507162" sldId="2147483719"/>
          </pc:sldLayoutMkLst>
        </pc:sldLayoutChg>
      </pc:sldMasterChg>
      <pc:sldMasterChg chg="addSldLayout delSldLayout">
        <pc:chgData name="Ekaterina Veselkova" userId="5ed5cb5c-b82d-4261-a35d-9158526644a8" providerId="ADAL" clId="{A9A9F67F-5F9A-4A4D-A191-F421342F4A20}" dt="2021-11-09T09:54:10.894" v="884" actId="2696"/>
        <pc:sldMasterMkLst>
          <pc:docMk/>
          <pc:sldMasterMk cId="2205286690" sldId="2147483721"/>
        </pc:sldMasterMkLst>
        <pc:sldLayoutChg chg="add del">
          <pc:chgData name="Ekaterina Veselkova" userId="5ed5cb5c-b82d-4261-a35d-9158526644a8" providerId="ADAL" clId="{A9A9F67F-5F9A-4A4D-A191-F421342F4A20}" dt="2021-11-09T09:54:10.894" v="884" actId="2696"/>
          <pc:sldLayoutMkLst>
            <pc:docMk/>
            <pc:sldMasterMk cId="2205286690" sldId="2147483721"/>
            <pc:sldLayoutMk cId="1561365389" sldId="2147483745"/>
          </pc:sldLayoutMkLst>
        </pc:sldLayoutChg>
        <pc:sldLayoutChg chg="add del">
          <pc:chgData name="Ekaterina Veselkova" userId="5ed5cb5c-b82d-4261-a35d-9158526644a8" providerId="ADAL" clId="{A9A9F67F-5F9A-4A4D-A191-F421342F4A20}" dt="2021-11-09T09:54:00.300" v="882" actId="2696"/>
          <pc:sldLayoutMkLst>
            <pc:docMk/>
            <pc:sldMasterMk cId="2205286690" sldId="2147483721"/>
            <pc:sldLayoutMk cId="4089989345" sldId="214748374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B76F666D-E0C2-435B-BAA8-9287F9E5D38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9FEBCAF-CB3F-4928-91AA-D61472F880C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351198EC-8139-42E0-8E21-7D55627C4578}" type="datetime1">
              <a:rPr lang="ru-RU" smtClean="0"/>
              <a:t>23.12.2021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9256698-63C6-4CCC-81CB-EA5604C30F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2467FDA-05D7-4760-A373-5D6AEAAF42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682C0B10-7CAE-41E4-AB02-7E8B1FF2B89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7537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ru-RU" noProof="0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85B5D-AF9C-4619-9577-8E9C8F4CF6D0}" type="datetime1">
              <a:rPr lang="ru-RU" smtClean="0"/>
              <a:pPr/>
              <a:t>23.1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ru-RU" noProof="0" dirty="0"/>
              <a:t>Образец текста</a:t>
            </a:r>
          </a:p>
          <a:p>
            <a:pPr lvl="1" rtl="0"/>
            <a:r>
              <a:rPr lang="ru-RU" noProof="0" dirty="0"/>
              <a:t>Второй уровень</a:t>
            </a:r>
          </a:p>
          <a:p>
            <a:pPr lvl="2" rtl="0"/>
            <a:r>
              <a:rPr lang="ru-RU" noProof="0" dirty="0"/>
              <a:t>Третий уровень</a:t>
            </a:r>
          </a:p>
          <a:p>
            <a:pPr lvl="3" rtl="0"/>
            <a:r>
              <a:rPr lang="ru-RU" noProof="0" dirty="0"/>
              <a:t>Четвертый уровень</a:t>
            </a:r>
          </a:p>
          <a:p>
            <a:pPr lvl="4" rtl="0"/>
            <a:r>
              <a:rPr lang="ru-RU" noProof="0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B8649DAF-093F-4482-AA38-346E9A2DEE94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356813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sz="800" baseline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11619A-6E25-479B-BD79-6554C880C8D2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, 202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4080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11619A-6E25-479B-BD79-6554C880C8D2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, 202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864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11619A-6E25-479B-BD79-6554C880C8D2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, 202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0202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B8649DAF-093F-4482-AA38-346E9A2DEE94}" type="slidenum">
              <a:rPr lang="ru-RU" noProof="0" smtClean="0"/>
              <a:t>4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32007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B8649DAF-093F-4482-AA38-346E9A2DEE94}" type="slidenum">
              <a:rPr lang="ru-RU" noProof="0" smtClean="0"/>
              <a:t>5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83209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B8649DAF-093F-4482-AA38-346E9A2DEE94}" type="slidenum">
              <a:rPr lang="ru-RU" noProof="0" smtClean="0"/>
              <a:t>6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836499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11619A-6E25-479B-BD79-6554C880C8D2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, 202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560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2.xml"/><Relationship Id="rId10" Type="http://schemas.openxmlformats.org/officeDocument/2006/relationships/image" Target="../media/image5.png"/><Relationship Id="rId4" Type="http://schemas.openxmlformats.org/officeDocument/2006/relationships/tags" Target="../tags/tag31.xml"/><Relationship Id="rId9" Type="http://schemas.openxmlformats.org/officeDocument/2006/relationships/image" Target="../media/image4.jpe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1.emf"/><Relationship Id="rId4" Type="http://schemas.openxmlformats.org/officeDocument/2006/relationships/tags" Target="../tags/tag36.xml"/><Relationship Id="rId9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3.emf"/><Relationship Id="rId4" Type="http://schemas.openxmlformats.org/officeDocument/2006/relationships/tags" Target="../tags/tag61.xml"/><Relationship Id="rId9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2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2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2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1.emf"/><Relationship Id="rId5" Type="http://schemas.openxmlformats.org/officeDocument/2006/relationships/tags" Target="../tags/tag8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4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2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6.emf"/><Relationship Id="rId5" Type="http://schemas.openxmlformats.org/officeDocument/2006/relationships/tags" Target="../tags/tag93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2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1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image" Target="../media/image2.png"/><Relationship Id="rId4" Type="http://schemas.openxmlformats.org/officeDocument/2006/relationships/tags" Target="../tags/tag108.xml"/><Relationship Id="rId9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3.xml"/><Relationship Id="rId7" Type="http://schemas.openxmlformats.org/officeDocument/2006/relationships/image" Target="../media/image3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.xml"/><Relationship Id="rId7" Type="http://schemas.openxmlformats.org/officeDocument/2006/relationships/oleObject" Target="../embeddings/oleObject18.bin"/><Relationship Id="rId12" Type="http://schemas.microsoft.com/office/2007/relationships/hdphoto" Target="../media/hdphoto2.wdp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11.png"/><Relationship Id="rId5" Type="http://schemas.openxmlformats.org/officeDocument/2006/relationships/tags" Target="../tags/tag143.xml"/><Relationship Id="rId10" Type="http://schemas.openxmlformats.org/officeDocument/2006/relationships/image" Target="../media/image10.png"/><Relationship Id="rId4" Type="http://schemas.openxmlformats.org/officeDocument/2006/relationships/tags" Target="../tags/tag142.xml"/><Relationship Id="rId9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image" Target="../media/image1.emf"/><Relationship Id="rId4" Type="http://schemas.openxmlformats.org/officeDocument/2006/relationships/tags" Target="../tags/tag147.xml"/><Relationship Id="rId9" Type="http://schemas.openxmlformats.org/officeDocument/2006/relationships/oleObject" Target="../embeddings/oleObject19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3.emf"/><Relationship Id="rId4" Type="http://schemas.openxmlformats.org/officeDocument/2006/relationships/tags" Target="../tags/tag172.xml"/><Relationship Id="rId9" Type="http://schemas.openxmlformats.org/officeDocument/2006/relationships/oleObject" Target="../embeddings/oleObject23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image" Target="../media/image9.png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8.pn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1" Type="http://schemas.openxmlformats.org/officeDocument/2006/relationships/image" Target="../media/image1.emf"/><Relationship Id="rId5" Type="http://schemas.openxmlformats.org/officeDocument/2006/relationships/tags" Target="../tags/tag180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79.xml"/><Relationship Id="rId9" Type="http://schemas.openxmlformats.org/officeDocument/2006/relationships/slideMaster" Target="../slideMasters/slideMaster3.xml"/><Relationship Id="rId14" Type="http://schemas.microsoft.com/office/2007/relationships/hdphoto" Target="../media/hdphoto1.wdp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image" Target="../media/image9.pn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8.png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1" Type="http://schemas.openxmlformats.org/officeDocument/2006/relationships/image" Target="../media/image1.emf"/><Relationship Id="rId5" Type="http://schemas.openxmlformats.org/officeDocument/2006/relationships/tags" Target="../tags/tag188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87.xml"/><Relationship Id="rId9" Type="http://schemas.openxmlformats.org/officeDocument/2006/relationships/slideMaster" Target="../slideMasters/slideMaster3.xml"/><Relationship Id="rId14" Type="http://schemas.microsoft.com/office/2007/relationships/hdphoto" Target="../media/hdphoto1.wdp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9.pn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8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3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3.xml"/><Relationship Id="rId14" Type="http://schemas.microsoft.com/office/2007/relationships/hdphoto" Target="../media/hdphoto1.wdp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9.pn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8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3.xml"/><Relationship Id="rId14" Type="http://schemas.microsoft.com/office/2007/relationships/hdphoto" Target="../media/hdphoto1.wdp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9.pn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8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3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3.xml"/><Relationship Id="rId14" Type="http://schemas.microsoft.com/office/2007/relationships/hdphoto" Target="../media/hdphoto1.wdp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18.xml"/><Relationship Id="rId7" Type="http://schemas.openxmlformats.org/officeDocument/2006/relationships/slideMaster" Target="../slideMasters/slideMaster3.xml"/><Relationship Id="rId12" Type="http://schemas.microsoft.com/office/2007/relationships/hdphoto" Target="../media/hdphoto1.wdp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9.png"/><Relationship Id="rId5" Type="http://schemas.openxmlformats.org/officeDocument/2006/relationships/tags" Target="../tags/tag220.xml"/><Relationship Id="rId10" Type="http://schemas.openxmlformats.org/officeDocument/2006/relationships/image" Target="../media/image8.png"/><Relationship Id="rId4" Type="http://schemas.openxmlformats.org/officeDocument/2006/relationships/tags" Target="../tags/tag219.xml"/><Relationship Id="rId9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24.xml"/><Relationship Id="rId7" Type="http://schemas.openxmlformats.org/officeDocument/2006/relationships/image" Target="../media/image3.emf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3.xml"/><Relationship Id="rId10" Type="http://schemas.microsoft.com/office/2007/relationships/hdphoto" Target="../media/hdphoto1.wdp"/><Relationship Id="rId4" Type="http://schemas.openxmlformats.org/officeDocument/2006/relationships/tags" Target="../tags/tag225.xml"/><Relationship Id="rId9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pn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3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5" Type="http://schemas.openxmlformats.org/officeDocument/2006/relationships/tags" Target="../tags/tag238.xml"/><Relationship Id="rId10" Type="http://schemas.openxmlformats.org/officeDocument/2006/relationships/image" Target="../media/image1.emf"/><Relationship Id="rId4" Type="http://schemas.openxmlformats.org/officeDocument/2006/relationships/tags" Target="../tags/tag237.xml"/><Relationship Id="rId9" Type="http://schemas.openxmlformats.org/officeDocument/2006/relationships/oleObject" Target="../embeddings/oleObject3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715" y="86714"/>
            <a:ext cx="12018572" cy="6684572"/>
          </a:xfrm>
          <a:solidFill>
            <a:schemeClr val="bg1">
              <a:lumMod val="85000"/>
            </a:schemeClr>
          </a:solidFill>
        </p:spPr>
        <p:txBody>
          <a:bodyPr lIns="360000" tIns="360000" rtlCol="0"/>
          <a:lstStyle>
            <a:lvl1pPr marL="0" indent="0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ru-RU" noProof="0" dirty="0"/>
              <a:t>Вставьте или перетащите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1768422"/>
            <a:ext cx="6840000" cy="2387600"/>
          </a:xfrm>
          <a:solidFill>
            <a:schemeClr val="tx1">
              <a:alpha val="80000"/>
            </a:schemeClr>
          </a:solidFill>
        </p:spPr>
        <p:txBody>
          <a:bodyPr lIns="432000" rIns="432000" bIns="144000" rtlCol="0" anchor="b"/>
          <a:lstStyle>
            <a:lvl1pPr algn="l">
              <a:defRPr sz="4200" spc="-150">
                <a:solidFill>
                  <a:schemeClr val="bg1"/>
                </a:solidFill>
              </a:defRPr>
            </a:lvl1pPr>
          </a:lstStyle>
          <a:p>
            <a:pPr rtl="0"/>
            <a:r>
              <a:rPr lang="ru-RU" noProof="0" dirty="0"/>
              <a:t>Щелкните, чтобы изменить стиль </a:t>
            </a:r>
            <a:br>
              <a:rPr lang="ru-RU" noProof="0" dirty="0"/>
            </a:br>
            <a:r>
              <a:rPr lang="ru-RU" noProof="0" dirty="0"/>
              <a:t>образца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153578"/>
            <a:ext cx="6840000" cy="936000"/>
          </a:xfrm>
          <a:solidFill>
            <a:schemeClr val="tx1">
              <a:alpha val="90000"/>
            </a:schemeClr>
          </a:solidFill>
        </p:spPr>
        <p:txBody>
          <a:bodyPr lIns="432000" tIns="144000" rtlCol="0"/>
          <a:lstStyle>
            <a:lvl1pPr marL="0" indent="0" algn="l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4038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5472000" cy="360000"/>
          </a:xfrm>
        </p:spPr>
        <p:txBody>
          <a:bodyPr rtlCol="0"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1584000"/>
            <a:ext cx="5472000" cy="4608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0" name="Нижний колонтитул 9">
            <a:extLst>
              <a:ext uri="{FF2B5EF4-FFF2-40B4-BE49-F238E27FC236}">
                <a16:creationId xmlns:a16="http://schemas.microsoft.com/office/drawing/2014/main" id="{9337FD81-6DFD-43B7-A7D9-59E45ECDF3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F17B7460-0559-435A-9C2F-1B12BC6CE1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DF0A5256-B267-47DA-858A-0F3867CB61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1584325"/>
            <a:ext cx="5472113" cy="46069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0" y="1152525"/>
            <a:ext cx="5472000" cy="358775"/>
          </a:xfrm>
        </p:spPr>
        <p:txBody>
          <a:bodyPr rtlCol="0"/>
          <a:lstStyle>
            <a:lvl1pPr marL="0" indent="0">
              <a:buNone/>
              <a:defRPr sz="2400" b="1"/>
            </a:lvl1pPr>
          </a:lstStyle>
          <a:p>
            <a:pPr lvl="0" rt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39098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 столбца, с рам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396" y="2463936"/>
            <a:ext cx="3726003" cy="3314545"/>
          </a:xfrm>
          <a:prstGeom prst="rightArrowCallout">
            <a:avLst>
              <a:gd name="adj1" fmla="val 50000"/>
              <a:gd name="adj2" fmla="val 25000"/>
              <a:gd name="adj3" fmla="val 15421"/>
              <a:gd name="adj4" fmla="val 80487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13985" y="2463801"/>
            <a:ext cx="3726469" cy="3314200"/>
          </a:xfrm>
          <a:prstGeom prst="rightArrowCallout">
            <a:avLst>
              <a:gd name="adj1" fmla="val 50000"/>
              <a:gd name="adj2" fmla="val 25000"/>
              <a:gd name="adj3" fmla="val 16186"/>
              <a:gd name="adj4" fmla="val 80493"/>
            </a:avLst>
          </a:prstGeom>
          <a:solidFill>
            <a:schemeClr val="bg1">
              <a:lumMod val="95000"/>
            </a:schemeClr>
          </a:solidFill>
        </p:spPr>
        <p:txBody>
          <a:bodyPr lIns="180000" tIns="180000" rIns="180000"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83985" y="2463801"/>
            <a:ext cx="2963619" cy="331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0000" tIns="180000" rIns="180000"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F8E9D1B9-1C3A-4397-B3B4-9A921D64159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 dirty="0"/>
              <a:t>Подзаголовок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1B4F049D-3C57-44BB-ACE2-1363AF36D9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4236" y="1647240"/>
            <a:ext cx="2975578" cy="648000"/>
          </a:xfrm>
          <a:ln>
            <a:solidFill>
              <a:schemeClr val="accent1"/>
            </a:solidFill>
          </a:ln>
        </p:spPr>
        <p:txBody>
          <a:bodyPr tIns="108000" rtlCol="0" anchor="t"/>
          <a:lstStyle>
            <a:lvl1pPr marL="0" indent="0" algn="ctr">
              <a:buNone/>
              <a:defRPr>
                <a:latin typeface="+mj-lt"/>
              </a:defRPr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 rtl="0"/>
            <a:r>
              <a:rPr lang="ru-RU" noProof="0" dirty="0"/>
              <a:t>Название раздела 1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FB9B793F-A64B-475C-96F3-FB40100E01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08336" y="1647040"/>
            <a:ext cx="2975578" cy="648000"/>
          </a:xfrm>
          <a:ln>
            <a:solidFill>
              <a:schemeClr val="accent2"/>
            </a:solidFill>
          </a:ln>
        </p:spPr>
        <p:txBody>
          <a:bodyPr tIns="108000" rtlCol="0" anchor="t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lvl="0" rtl="0"/>
            <a:r>
              <a:rPr lang="ru-RU" noProof="0" dirty="0"/>
              <a:t>Название раздела 2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0EF53567-5287-43FB-B07E-A12F3AEEDB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83986" y="1647240"/>
            <a:ext cx="2975578" cy="648000"/>
          </a:xfrm>
          <a:ln>
            <a:solidFill>
              <a:schemeClr val="accent3"/>
            </a:solidFill>
          </a:ln>
        </p:spPr>
        <p:txBody>
          <a:bodyPr tIns="108000" rtlCol="0" anchor="t"/>
          <a:lstStyle>
            <a:lvl1pPr marL="0" indent="0" algn="ctr">
              <a:buNone/>
              <a:defRPr>
                <a:latin typeface="+mj-lt"/>
              </a:defRPr>
            </a:lvl1pPr>
          </a:lstStyle>
          <a:p>
            <a:pPr lvl="0" rtl="0"/>
            <a:r>
              <a:rPr lang="ru-RU" noProof="0" dirty="0"/>
              <a:t>Название раздела 3</a:t>
            </a:r>
          </a:p>
        </p:txBody>
      </p:sp>
    </p:spTree>
    <p:extLst>
      <p:ext uri="{BB962C8B-B14F-4D97-AF65-F5344CB8AC3E}">
        <p14:creationId xmlns:p14="http://schemas.microsoft.com/office/powerpoint/2010/main" val="3755733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ременная шка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37BBBFC2-32EB-4335-9980-A7CF236703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 dirty="0"/>
              <a:t>Подзаголовок</a:t>
            </a:r>
          </a:p>
        </p:txBody>
      </p:sp>
      <p:cxnSp>
        <p:nvCxnSpPr>
          <p:cNvPr id="15" name="Прямая со стрелкой 14">
            <a:extLst>
              <a:ext uri="{FF2B5EF4-FFF2-40B4-BE49-F238E27FC236}">
                <a16:creationId xmlns:a16="http://schemas.microsoft.com/office/drawing/2014/main" id="{52158F80-0C1A-4B9E-9335-A5A0015187F7}"/>
              </a:ext>
            </a:extLst>
          </p:cNvPr>
          <p:cNvCxnSpPr/>
          <p:nvPr userDrawn="1"/>
        </p:nvCxnSpPr>
        <p:spPr>
          <a:xfrm>
            <a:off x="431800" y="3866682"/>
            <a:ext cx="11339513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10">
            <a:extLst>
              <a:ext uri="{FF2B5EF4-FFF2-40B4-BE49-F238E27FC236}">
                <a16:creationId xmlns:a16="http://schemas.microsoft.com/office/drawing/2014/main" id="{723DA611-B88C-4D7E-82A4-5E4CA9DC2E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2908" y="3973125"/>
            <a:ext cx="415608" cy="201776"/>
          </a:xfrm>
        </p:spPr>
        <p:txBody>
          <a:bodyPr rtlCol="0" anchor="ctr"/>
          <a:lstStyle>
            <a:lvl1pPr marL="0" indent="0" algn="ct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Год</a:t>
            </a:r>
          </a:p>
        </p:txBody>
      </p:sp>
      <p:sp>
        <p:nvSpPr>
          <p:cNvPr id="17" name="Текст 10">
            <a:extLst>
              <a:ext uri="{FF2B5EF4-FFF2-40B4-BE49-F238E27FC236}">
                <a16:creationId xmlns:a16="http://schemas.microsoft.com/office/drawing/2014/main" id="{180A0FA4-75CD-4A61-AA79-9C3C5F97ED8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1799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21" name="Текст 10">
            <a:extLst>
              <a:ext uri="{FF2B5EF4-FFF2-40B4-BE49-F238E27FC236}">
                <a16:creationId xmlns:a16="http://schemas.microsoft.com/office/drawing/2014/main" id="{EBB89A53-1B07-4560-B98E-03BECDB832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816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22" name="Текст 10">
            <a:extLst>
              <a:ext uri="{FF2B5EF4-FFF2-40B4-BE49-F238E27FC236}">
                <a16:creationId xmlns:a16="http://schemas.microsoft.com/office/drawing/2014/main" id="{22D34AD8-D83D-4409-A418-C00840A085A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75833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25" name="Текст 10">
            <a:extLst>
              <a:ext uri="{FF2B5EF4-FFF2-40B4-BE49-F238E27FC236}">
                <a16:creationId xmlns:a16="http://schemas.microsoft.com/office/drawing/2014/main" id="{3EAA6A46-63F3-49A5-8E0B-758176E442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847850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26" name="Текст 10">
            <a:extLst>
              <a:ext uri="{FF2B5EF4-FFF2-40B4-BE49-F238E27FC236}">
                <a16:creationId xmlns:a16="http://schemas.microsoft.com/office/drawing/2014/main" id="{BB051A6E-4868-4F3F-93DB-AD07020E934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077108" y="3973125"/>
            <a:ext cx="415608" cy="201776"/>
          </a:xfrm>
        </p:spPr>
        <p:txBody>
          <a:bodyPr rtlCol="0" anchor="ctr"/>
          <a:lstStyle>
            <a:lvl1pPr marL="0" indent="0" algn="ct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Год</a:t>
            </a:r>
          </a:p>
        </p:txBody>
      </p:sp>
      <p:sp>
        <p:nvSpPr>
          <p:cNvPr id="28" name="Текст 10">
            <a:extLst>
              <a:ext uri="{FF2B5EF4-FFF2-40B4-BE49-F238E27FC236}">
                <a16:creationId xmlns:a16="http://schemas.microsoft.com/office/drawing/2014/main" id="{61519886-189E-4C69-AEED-FD9BDD3E567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319867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0" name="Текст 10">
            <a:extLst>
              <a:ext uri="{FF2B5EF4-FFF2-40B4-BE49-F238E27FC236}">
                <a16:creationId xmlns:a16="http://schemas.microsoft.com/office/drawing/2014/main" id="{0F084DDF-04EE-46A9-9F77-D5FD94D1B54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791884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1" name="Текст 10">
            <a:extLst>
              <a:ext uri="{FF2B5EF4-FFF2-40B4-BE49-F238E27FC236}">
                <a16:creationId xmlns:a16="http://schemas.microsoft.com/office/drawing/2014/main" id="{743DE8AB-BF74-4CC9-AD19-8BBBF44867A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63901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2" name="Текст 10">
            <a:extLst>
              <a:ext uri="{FF2B5EF4-FFF2-40B4-BE49-F238E27FC236}">
                <a16:creationId xmlns:a16="http://schemas.microsoft.com/office/drawing/2014/main" id="{2ECC5C24-2CE5-491E-89DC-F9C5AE98B06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679952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3" name="Текст 10">
            <a:extLst>
              <a:ext uri="{FF2B5EF4-FFF2-40B4-BE49-F238E27FC236}">
                <a16:creationId xmlns:a16="http://schemas.microsoft.com/office/drawing/2014/main" id="{ADB0F187-5781-4076-B761-264B1C683A6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35918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4" name="Текст 10">
            <a:extLst>
              <a:ext uri="{FF2B5EF4-FFF2-40B4-BE49-F238E27FC236}">
                <a16:creationId xmlns:a16="http://schemas.microsoft.com/office/drawing/2014/main" id="{B2E776B2-D388-4243-80AE-BD8AF47C8AA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207935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5" name="Текст 10">
            <a:extLst>
              <a:ext uri="{FF2B5EF4-FFF2-40B4-BE49-F238E27FC236}">
                <a16:creationId xmlns:a16="http://schemas.microsoft.com/office/drawing/2014/main" id="{79F3A104-EDC0-4A25-9585-3F9F8C1022C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151969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6" name="Текст 10">
            <a:extLst>
              <a:ext uri="{FF2B5EF4-FFF2-40B4-BE49-F238E27FC236}">
                <a16:creationId xmlns:a16="http://schemas.microsoft.com/office/drawing/2014/main" id="{23DA3E7C-9F0E-4A57-B6EA-C01C72788E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623986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7" name="Текст 10">
            <a:extLst>
              <a:ext uri="{FF2B5EF4-FFF2-40B4-BE49-F238E27FC236}">
                <a16:creationId xmlns:a16="http://schemas.microsoft.com/office/drawing/2014/main" id="{A8ABC110-DC97-4A71-9A16-67581EAC989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5999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8" name="Текст 10">
            <a:extLst>
              <a:ext uri="{FF2B5EF4-FFF2-40B4-BE49-F238E27FC236}">
                <a16:creationId xmlns:a16="http://schemas.microsoft.com/office/drawing/2014/main" id="{81058125-332B-41A7-BCD5-72CAE3F9F97D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68012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39" name="Текст 10">
            <a:extLst>
              <a:ext uri="{FF2B5EF4-FFF2-40B4-BE49-F238E27FC236}">
                <a16:creationId xmlns:a16="http://schemas.microsoft.com/office/drawing/2014/main" id="{E32DE8FD-6391-4094-BAEC-CC0836CC67E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40029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0" name="Текст 10">
            <a:extLst>
              <a:ext uri="{FF2B5EF4-FFF2-40B4-BE49-F238E27FC236}">
                <a16:creationId xmlns:a16="http://schemas.microsoft.com/office/drawing/2014/main" id="{5C53C0F3-9308-422B-BC6E-1ACA5029027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512046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1" name="Текст 10">
            <a:extLst>
              <a:ext uri="{FF2B5EF4-FFF2-40B4-BE49-F238E27FC236}">
                <a16:creationId xmlns:a16="http://schemas.microsoft.com/office/drawing/2014/main" id="{06DFFA03-9EA6-4F70-9519-AB1361BAF7C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984063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2" name="Текст 10">
            <a:extLst>
              <a:ext uri="{FF2B5EF4-FFF2-40B4-BE49-F238E27FC236}">
                <a16:creationId xmlns:a16="http://schemas.microsoft.com/office/drawing/2014/main" id="{49CD8693-3557-4241-BB88-518160D989C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456080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3" name="Текст 10">
            <a:extLst>
              <a:ext uri="{FF2B5EF4-FFF2-40B4-BE49-F238E27FC236}">
                <a16:creationId xmlns:a16="http://schemas.microsoft.com/office/drawing/2014/main" id="{4884DF69-4936-4F90-BFB8-ED04A228DA2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928097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4" name="Текст 10">
            <a:extLst>
              <a:ext uri="{FF2B5EF4-FFF2-40B4-BE49-F238E27FC236}">
                <a16:creationId xmlns:a16="http://schemas.microsoft.com/office/drawing/2014/main" id="{00804F61-8052-4AD8-8370-ED72B261BC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10344148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5" name="Текст 10">
            <a:extLst>
              <a:ext uri="{FF2B5EF4-FFF2-40B4-BE49-F238E27FC236}">
                <a16:creationId xmlns:a16="http://schemas.microsoft.com/office/drawing/2014/main" id="{313F370F-A9EC-477E-BED7-BF4E8752742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400114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6" name="Текст 10">
            <a:extLst>
              <a:ext uri="{FF2B5EF4-FFF2-40B4-BE49-F238E27FC236}">
                <a16:creationId xmlns:a16="http://schemas.microsoft.com/office/drawing/2014/main" id="{9E687ADD-FE6C-441E-991F-E71EA0572C32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872131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7" name="Текст 10">
            <a:extLst>
              <a:ext uri="{FF2B5EF4-FFF2-40B4-BE49-F238E27FC236}">
                <a16:creationId xmlns:a16="http://schemas.microsoft.com/office/drawing/2014/main" id="{5E0252B4-80AE-40E9-BA32-6EDAAC62521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816165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8" name="Текст 10">
            <a:extLst>
              <a:ext uri="{FF2B5EF4-FFF2-40B4-BE49-F238E27FC236}">
                <a16:creationId xmlns:a16="http://schemas.microsoft.com/office/drawing/2014/main" id="{8A807DF0-23B6-4B83-B3F6-8D0BE9A851F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288182" y="3597398"/>
            <a:ext cx="377825" cy="201776"/>
          </a:xfrm>
        </p:spPr>
        <p:txBody>
          <a:bodyPr rtlCol="0"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М</a:t>
            </a:r>
          </a:p>
        </p:txBody>
      </p:sp>
      <p:sp>
        <p:nvSpPr>
          <p:cNvPr id="49" name="Текст 3">
            <a:extLst>
              <a:ext uri="{FF2B5EF4-FFF2-40B4-BE49-F238E27FC236}">
                <a16:creationId xmlns:a16="http://schemas.microsoft.com/office/drawing/2014/main" id="{F3591345-36C8-481A-AD5B-5F69B03D171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60988" y="2190750"/>
            <a:ext cx="1793875" cy="561975"/>
          </a:xfrm>
          <a:noFill/>
          <a:ln>
            <a:noFill/>
          </a:ln>
        </p:spPr>
        <p:txBody>
          <a:bodyPr tIns="36000" rtlCol="0" anchor="t"/>
          <a:lstStyle>
            <a:lvl1pPr marL="0" indent="0" algn="ctr"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Название элемента</a:t>
            </a:r>
          </a:p>
        </p:txBody>
      </p:sp>
      <p:sp>
        <p:nvSpPr>
          <p:cNvPr id="50" name="Текст 36">
            <a:extLst>
              <a:ext uri="{FF2B5EF4-FFF2-40B4-BE49-F238E27FC236}">
                <a16:creationId xmlns:a16="http://schemas.microsoft.com/office/drawing/2014/main" id="{954C0732-1924-4A1B-9272-95C51D0B36F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395728" y="2531196"/>
            <a:ext cx="1724394" cy="185808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 rtl="0"/>
            <a:r>
              <a:rPr lang="ru-RU" noProof="0" dirty="0"/>
              <a:t>месяц, год</a:t>
            </a:r>
          </a:p>
        </p:txBody>
      </p:sp>
    </p:spTree>
    <p:extLst>
      <p:ext uri="{BB962C8B-B14F-4D97-AF65-F5344CB8AC3E}">
        <p14:creationId xmlns:p14="http://schemas.microsoft.com/office/powerpoint/2010/main" val="906707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частники группы 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03945" y="3995705"/>
            <a:ext cx="1964171" cy="216000"/>
          </a:xfrm>
        </p:spPr>
        <p:txBody>
          <a:bodyPr rtlCol="0"/>
          <a:lstStyle>
            <a:lvl1pPr marL="0" indent="0" algn="l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55887" y="3995705"/>
            <a:ext cx="1964171" cy="216000"/>
          </a:xfrm>
        </p:spPr>
        <p:txBody>
          <a:bodyPr rtlCol="0"/>
          <a:lstStyle>
            <a:lvl1pPr marL="0" indent="0" algn="l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07829" y="3991240"/>
            <a:ext cx="1964171" cy="216000"/>
          </a:xfrm>
        </p:spPr>
        <p:txBody>
          <a:bodyPr rtlCol="0"/>
          <a:lstStyle>
            <a:lvl1pPr marL="0" indent="0" algn="l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03945" y="3424428"/>
            <a:ext cx="1964170" cy="504000"/>
          </a:xfrm>
        </p:spPr>
        <p:txBody>
          <a:bodyPr rtlCol="0"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Имя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5887" y="3424428"/>
            <a:ext cx="1964171" cy="504000"/>
          </a:xfrm>
        </p:spPr>
        <p:txBody>
          <a:bodyPr rtlCol="0"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Имя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33DAFB20-1343-4578-8AA0-0378B674F1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07830" y="3424428"/>
            <a:ext cx="1964170" cy="504000"/>
          </a:xfrm>
        </p:spPr>
        <p:txBody>
          <a:bodyPr rtlCol="0"/>
          <a:lstStyle>
            <a:lvl1pPr marL="0" indent="0" algn="l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Имя</a:t>
            </a:r>
          </a:p>
        </p:txBody>
      </p:sp>
      <p:sp>
        <p:nvSpPr>
          <p:cNvPr id="24" name="Рисунок 22">
            <a:extLst>
              <a:ext uri="{FF2B5EF4-FFF2-40B4-BE49-F238E27FC236}">
                <a16:creationId xmlns:a16="http://schemas.microsoft.com/office/drawing/2014/main" id="{806A4855-25AA-40D4-B1A4-A271486B6C9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1800" y="2808242"/>
            <a:ext cx="1505966" cy="150596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5" name="Рисунок 22">
            <a:extLst>
              <a:ext uri="{FF2B5EF4-FFF2-40B4-BE49-F238E27FC236}">
                <a16:creationId xmlns:a16="http://schemas.microsoft.com/office/drawing/2014/main" id="{31E10A24-B676-4117-9507-B4B0EB406F0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283742" y="2808242"/>
            <a:ext cx="1505966" cy="150596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6" name="Рисунок 22">
            <a:extLst>
              <a:ext uri="{FF2B5EF4-FFF2-40B4-BE49-F238E27FC236}">
                <a16:creationId xmlns:a16="http://schemas.microsoft.com/office/drawing/2014/main" id="{6549D851-9848-44AC-937A-9B1EF867E59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35683" y="2808242"/>
            <a:ext cx="1505966" cy="1505966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36DD16A0-27CF-480C-8ADD-7BB99E0031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 dirty="0"/>
              <a:t>Подзаголовок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47CA876-2153-4136-850D-EE098BDC24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03945" y="4311393"/>
            <a:ext cx="1964172" cy="113030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 dirty="0"/>
              <a:t>Краткая биография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969B21C2-C689-49C2-B45F-14C5C53A587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55887" y="4311393"/>
            <a:ext cx="1963737" cy="113030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ru-RU" noProof="0" dirty="0"/>
              <a:t>Краткая биография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E33D8E11-F7FD-4AD9-BEC6-78C6500F81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807829" y="4311393"/>
            <a:ext cx="1981200" cy="1138238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ru-RU" noProof="0" dirty="0"/>
              <a:t>Краткая биография</a:t>
            </a:r>
          </a:p>
        </p:txBody>
      </p:sp>
    </p:spTree>
    <p:extLst>
      <p:ext uri="{BB962C8B-B14F-4D97-AF65-F5344CB8AC3E}">
        <p14:creationId xmlns:p14="http://schemas.microsoft.com/office/powerpoint/2010/main" val="36241199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частники группы 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0113" y="4505325"/>
            <a:ext cx="1800000" cy="900000"/>
          </a:xfrm>
        </p:spPr>
        <p:txBody>
          <a:bodyPr rtlCol="0"/>
          <a:lstStyle>
            <a:lvl1pPr marL="0" indent="0" algn="ctr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48426" y="4505325"/>
            <a:ext cx="1800000" cy="900000"/>
          </a:xfrm>
        </p:spPr>
        <p:txBody>
          <a:bodyPr rtlCol="0"/>
          <a:lstStyle>
            <a:lvl1pPr marL="0" indent="0" algn="ctr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56739" y="4505325"/>
            <a:ext cx="1800000" cy="900000"/>
          </a:xfrm>
        </p:spPr>
        <p:txBody>
          <a:bodyPr rtlCol="0"/>
          <a:lstStyle>
            <a:lvl1pPr marL="0" indent="0" algn="ctr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5052" y="4505325"/>
            <a:ext cx="1800000" cy="900000"/>
          </a:xfrm>
        </p:spPr>
        <p:txBody>
          <a:bodyPr rtlCol="0"/>
          <a:lstStyle>
            <a:lvl1pPr marL="0" indent="0" algn="ctr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EB3F7825-EB73-4976-9D8D-BAD8C8FCEA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3926334"/>
            <a:ext cx="1800000" cy="504000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6D972951-9088-4993-8DED-9DA3B6B08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40113" y="3926335"/>
            <a:ext cx="1800000" cy="504000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48424FDD-507C-4199-BFC6-8BC01D8992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48426" y="3926335"/>
            <a:ext cx="1800000" cy="504000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33DAFB20-1343-4578-8AA0-0378B674F1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739" y="3926335"/>
            <a:ext cx="1800000" cy="504000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B01E9EA3-8BD6-4531-812C-663C75428B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5052" y="3926335"/>
            <a:ext cx="1800000" cy="504000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DA4566DA-C848-4A27-BBC8-722932FFD7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1800" y="4505325"/>
            <a:ext cx="1800000" cy="900000"/>
          </a:xfrm>
        </p:spPr>
        <p:txBody>
          <a:bodyPr rtlCol="0"/>
          <a:lstStyle>
            <a:lvl1pPr marL="0" indent="0" algn="ctr">
              <a:buNone/>
              <a:defRPr sz="1600"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4089E01F-0C47-4C6A-A9A8-A1A7E470F31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7088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4" name="Рисунок 22">
            <a:extLst>
              <a:ext uri="{FF2B5EF4-FFF2-40B4-BE49-F238E27FC236}">
                <a16:creationId xmlns:a16="http://schemas.microsoft.com/office/drawing/2014/main" id="{806A4855-25AA-40D4-B1A4-A271486B6C9F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625401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5" name="Рисунок 22">
            <a:extLst>
              <a:ext uri="{FF2B5EF4-FFF2-40B4-BE49-F238E27FC236}">
                <a16:creationId xmlns:a16="http://schemas.microsoft.com/office/drawing/2014/main" id="{31E10A24-B676-4117-9507-B4B0EB406F0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33714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6" name="Рисунок 22">
            <a:extLst>
              <a:ext uri="{FF2B5EF4-FFF2-40B4-BE49-F238E27FC236}">
                <a16:creationId xmlns:a16="http://schemas.microsoft.com/office/drawing/2014/main" id="{6549D851-9848-44AC-937A-9B1EF867E59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42027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7" name="Рисунок 22">
            <a:extLst>
              <a:ext uri="{FF2B5EF4-FFF2-40B4-BE49-F238E27FC236}">
                <a16:creationId xmlns:a16="http://schemas.microsoft.com/office/drawing/2014/main" id="{B765F5D3-7CB7-4E55-8217-E9EEA9F2945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350340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0" name="Рисунок 22">
            <a:extLst>
              <a:ext uri="{FF2B5EF4-FFF2-40B4-BE49-F238E27FC236}">
                <a16:creationId xmlns:a16="http://schemas.microsoft.com/office/drawing/2014/main" id="{8CB2CA38-4C7F-4D6B-9B34-606F1A007A1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258651" y="2160704"/>
            <a:ext cx="1229425" cy="122942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rtlCol="0" anchor="ctr"/>
          <a:lstStyle>
            <a:lvl1pPr marL="0" indent="0" algn="ctr">
              <a:buNone/>
              <a:defRPr sz="1200"/>
            </a:lvl1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5DA42CA-D117-4AF7-9FEC-03EB2BBB756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973363" y="3925888"/>
            <a:ext cx="1800000" cy="504825"/>
          </a:xfrm>
        </p:spPr>
        <p:txBody>
          <a:bodyPr rtlCol="0"/>
          <a:lstStyle>
            <a:lvl1pPr marL="0" indent="0" algn="ctr">
              <a:buNone/>
              <a:defRPr b="1">
                <a:latin typeface="+mj-lt"/>
              </a:defRPr>
            </a:lvl1pPr>
            <a:lvl2pPr marL="266700" indent="0" algn="ctr">
              <a:buNone/>
              <a:defRPr/>
            </a:lvl2pPr>
            <a:lvl3pPr marL="542925" indent="0" algn="ctr">
              <a:buNone/>
              <a:defRPr/>
            </a:lvl3pPr>
            <a:lvl4pPr marL="809625" indent="0" algn="ctr">
              <a:buNone/>
              <a:defRPr/>
            </a:lvl4pPr>
            <a:lvl5pPr marL="1076325" indent="0" algn="ctr">
              <a:buNone/>
              <a:defRPr/>
            </a:lvl5pPr>
          </a:lstStyle>
          <a:p>
            <a:pPr lvl="0" rtl="0"/>
            <a:r>
              <a:rPr lang="ru-RU" noProof="0" dirty="0"/>
              <a:t>Полное имя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5F9CEF5A-8DCE-4156-9138-C113C0D3A79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973363" y="4505325"/>
            <a:ext cx="1800000" cy="900113"/>
          </a:xfr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lvl="0" rtl="0"/>
            <a:r>
              <a:rPr lang="ru-RU" noProof="0" dirty="0"/>
              <a:t>Название</a:t>
            </a:r>
          </a:p>
        </p:txBody>
      </p:sp>
    </p:spTree>
    <p:extLst>
      <p:ext uri="{BB962C8B-B14F-4D97-AF65-F5344CB8AC3E}">
        <p14:creationId xmlns:p14="http://schemas.microsoft.com/office/powerpoint/2010/main" val="1503510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олилиния: Фигура 28">
            <a:extLst>
              <a:ext uri="{FF2B5EF4-FFF2-40B4-BE49-F238E27FC236}">
                <a16:creationId xmlns:a16="http://schemas.microsoft.com/office/drawing/2014/main" id="{F8AB0F04-910C-4647-AE1C-177C66B50038}"/>
              </a:ext>
            </a:extLst>
          </p:cNvPr>
          <p:cNvSpPr/>
          <p:nvPr userDrawn="1"/>
        </p:nvSpPr>
        <p:spPr>
          <a:xfrm rot="4308689">
            <a:off x="8139110" y="-52404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7" name="Полилиния: Фигура 26">
            <a:extLst>
              <a:ext uri="{FF2B5EF4-FFF2-40B4-BE49-F238E27FC236}">
                <a16:creationId xmlns:a16="http://schemas.microsoft.com/office/drawing/2014/main" id="{3E72A672-7789-4744-A4CB-D177B890FDE6}"/>
              </a:ext>
            </a:extLst>
          </p:cNvPr>
          <p:cNvSpPr/>
          <p:nvPr userDrawn="1"/>
        </p:nvSpPr>
        <p:spPr>
          <a:xfrm rot="4308689">
            <a:off x="8878526" y="-532562"/>
            <a:ext cx="3571215" cy="3737093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1215" h="3737093">
                <a:moveTo>
                  <a:pt x="0" y="3023156"/>
                </a:moveTo>
                <a:lnTo>
                  <a:pt x="993291" y="0"/>
                </a:lnTo>
                <a:lnTo>
                  <a:pt x="3571215" y="847006"/>
                </a:lnTo>
                <a:lnTo>
                  <a:pt x="1392370" y="3639100"/>
                </a:lnTo>
                <a:lnTo>
                  <a:pt x="393183" y="3737093"/>
                </a:lnTo>
                <a:lnTo>
                  <a:pt x="0" y="30231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14" name="Полилиния: Фигура 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4308689">
            <a:off x="9191192" y="1651650"/>
            <a:ext cx="1980696" cy="2066510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9" name="Полилиния: Фигура 18">
            <a:extLst>
              <a:ext uri="{FF2B5EF4-FFF2-40B4-BE49-F238E27FC236}">
                <a16:creationId xmlns:a16="http://schemas.microsoft.com/office/drawing/2014/main" id="{ABD99355-65C1-4211-9E82-3D41ACE0AE17}"/>
              </a:ext>
            </a:extLst>
          </p:cNvPr>
          <p:cNvSpPr/>
          <p:nvPr userDrawn="1"/>
        </p:nvSpPr>
        <p:spPr>
          <a:xfrm rot="13830869">
            <a:off x="9457431" y="3977898"/>
            <a:ext cx="346713" cy="206124"/>
          </a:xfrm>
          <a:custGeom>
            <a:avLst/>
            <a:gdLst>
              <a:gd name="connsiteX0" fmla="*/ 346713 w 346713"/>
              <a:gd name="connsiteY0" fmla="*/ 206124 h 206124"/>
              <a:gd name="connsiteX1" fmla="*/ 0 w 346713"/>
              <a:gd name="connsiteY1" fmla="*/ 206124 h 206124"/>
              <a:gd name="connsiteX2" fmla="*/ 86666 w 346713"/>
              <a:gd name="connsiteY2" fmla="*/ 0 h 206124"/>
              <a:gd name="connsiteX3" fmla="*/ 346713 w 346713"/>
              <a:gd name="connsiteY3" fmla="*/ 206124 h 20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713" h="206124">
                <a:moveTo>
                  <a:pt x="346713" y="206124"/>
                </a:moveTo>
                <a:lnTo>
                  <a:pt x="0" y="206124"/>
                </a:lnTo>
                <a:lnTo>
                  <a:pt x="86666" y="0"/>
                </a:lnTo>
                <a:lnTo>
                  <a:pt x="346713" y="2061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8" name="Полилиния: Фигура 17">
            <a:extLst>
              <a:ext uri="{FF2B5EF4-FFF2-40B4-BE49-F238E27FC236}">
                <a16:creationId xmlns:a16="http://schemas.microsoft.com/office/drawing/2014/main" id="{F459E701-5FEF-4918-8F3A-04E29BF09009}"/>
              </a:ext>
            </a:extLst>
          </p:cNvPr>
          <p:cNvSpPr/>
          <p:nvPr userDrawn="1"/>
        </p:nvSpPr>
        <p:spPr>
          <a:xfrm rot="12431080">
            <a:off x="9528615" y="3713859"/>
            <a:ext cx="710669" cy="335543"/>
          </a:xfrm>
          <a:custGeom>
            <a:avLst/>
            <a:gdLst>
              <a:gd name="connsiteX0" fmla="*/ 710669 w 710669"/>
              <a:gd name="connsiteY0" fmla="*/ 176660 h 335543"/>
              <a:gd name="connsiteX1" fmla="*/ 0 w 710669"/>
              <a:gd name="connsiteY1" fmla="*/ 335543 h 335543"/>
              <a:gd name="connsiteX2" fmla="*/ 141082 w 710669"/>
              <a:gd name="connsiteY2" fmla="*/ 0 h 335543"/>
              <a:gd name="connsiteX3" fmla="*/ 487795 w 710669"/>
              <a:gd name="connsiteY3" fmla="*/ 0 h 335543"/>
              <a:gd name="connsiteX4" fmla="*/ 710669 w 710669"/>
              <a:gd name="connsiteY4" fmla="*/ 176660 h 335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0669" h="335543">
                <a:moveTo>
                  <a:pt x="710669" y="176660"/>
                </a:moveTo>
                <a:lnTo>
                  <a:pt x="0" y="335543"/>
                </a:lnTo>
                <a:lnTo>
                  <a:pt x="141082" y="0"/>
                </a:lnTo>
                <a:lnTo>
                  <a:pt x="487795" y="0"/>
                </a:lnTo>
                <a:lnTo>
                  <a:pt x="710669" y="1766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0" name="Полилиния: Фигура 19">
            <a:extLst>
              <a:ext uri="{FF2B5EF4-FFF2-40B4-BE49-F238E27FC236}">
                <a16:creationId xmlns:a16="http://schemas.microsoft.com/office/drawing/2014/main" id="{8550A0A6-1197-4153-9800-69D58909D0C7}"/>
              </a:ext>
            </a:extLst>
          </p:cNvPr>
          <p:cNvSpPr/>
          <p:nvPr userDrawn="1"/>
        </p:nvSpPr>
        <p:spPr>
          <a:xfrm rot="4308689">
            <a:off x="8785444" y="1075879"/>
            <a:ext cx="1246227" cy="1580187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  <a:gd name="connsiteX0" fmla="*/ 0 w 1980696"/>
              <a:gd name="connsiteY0" fmla="*/ 1680311 h 1680311"/>
              <a:gd name="connsiteX1" fmla="*/ 1337031 w 1980696"/>
              <a:gd name="connsiteY1" fmla="*/ 0 h 1680311"/>
              <a:gd name="connsiteX2" fmla="*/ 1980696 w 1980696"/>
              <a:gd name="connsiteY2" fmla="*/ 1143817 h 1680311"/>
              <a:gd name="connsiteX3" fmla="*/ 1459417 w 1980696"/>
              <a:gd name="connsiteY3" fmla="*/ 1680311 h 1680311"/>
              <a:gd name="connsiteX4" fmla="*/ 0 w 1980696"/>
              <a:gd name="connsiteY4" fmla="*/ 1680311 h 1680311"/>
              <a:gd name="connsiteX0" fmla="*/ 0 w 1459417"/>
              <a:gd name="connsiteY0" fmla="*/ 1680311 h 1680311"/>
              <a:gd name="connsiteX1" fmla="*/ 1337031 w 1459417"/>
              <a:gd name="connsiteY1" fmla="*/ 0 h 1680311"/>
              <a:gd name="connsiteX2" fmla="*/ 1360698 w 1459417"/>
              <a:gd name="connsiteY2" fmla="*/ 208215 h 1680311"/>
              <a:gd name="connsiteX3" fmla="*/ 1459417 w 1459417"/>
              <a:gd name="connsiteY3" fmla="*/ 1680311 h 1680311"/>
              <a:gd name="connsiteX4" fmla="*/ 0 w 1459417"/>
              <a:gd name="connsiteY4" fmla="*/ 1680311 h 1680311"/>
              <a:gd name="connsiteX0" fmla="*/ 0 w 1360698"/>
              <a:gd name="connsiteY0" fmla="*/ 1680311 h 1688402"/>
              <a:gd name="connsiteX1" fmla="*/ 1337031 w 1360698"/>
              <a:gd name="connsiteY1" fmla="*/ 0 h 1688402"/>
              <a:gd name="connsiteX2" fmla="*/ 1360698 w 1360698"/>
              <a:gd name="connsiteY2" fmla="*/ 208215 h 1688402"/>
              <a:gd name="connsiteX3" fmla="*/ 278710 w 1360698"/>
              <a:gd name="connsiteY3" fmla="*/ 1688402 h 1688402"/>
              <a:gd name="connsiteX4" fmla="*/ 0 w 1360698"/>
              <a:gd name="connsiteY4" fmla="*/ 1680311 h 1688402"/>
              <a:gd name="connsiteX0" fmla="*/ 0 w 1360698"/>
              <a:gd name="connsiteY0" fmla="*/ 1680311 h 1698354"/>
              <a:gd name="connsiteX1" fmla="*/ 1337031 w 1360698"/>
              <a:gd name="connsiteY1" fmla="*/ 0 h 1698354"/>
              <a:gd name="connsiteX2" fmla="*/ 1360698 w 1360698"/>
              <a:gd name="connsiteY2" fmla="*/ 208215 h 1698354"/>
              <a:gd name="connsiteX3" fmla="*/ 415804 w 1360698"/>
              <a:gd name="connsiteY3" fmla="*/ 1698354 h 1698354"/>
              <a:gd name="connsiteX4" fmla="*/ 0 w 1360698"/>
              <a:gd name="connsiteY4" fmla="*/ 1680311 h 1698354"/>
              <a:gd name="connsiteX0" fmla="*/ 0 w 1360698"/>
              <a:gd name="connsiteY0" fmla="*/ 1556337 h 1574380"/>
              <a:gd name="connsiteX1" fmla="*/ 1226116 w 1360698"/>
              <a:gd name="connsiteY1" fmla="*/ 0 h 1574380"/>
              <a:gd name="connsiteX2" fmla="*/ 1360698 w 1360698"/>
              <a:gd name="connsiteY2" fmla="*/ 84241 h 1574380"/>
              <a:gd name="connsiteX3" fmla="*/ 415804 w 1360698"/>
              <a:gd name="connsiteY3" fmla="*/ 1574380 h 1574380"/>
              <a:gd name="connsiteX4" fmla="*/ 0 w 1360698"/>
              <a:gd name="connsiteY4" fmla="*/ 1556337 h 1574380"/>
              <a:gd name="connsiteX0" fmla="*/ 0 w 1303560"/>
              <a:gd name="connsiteY0" fmla="*/ 1556337 h 1574380"/>
              <a:gd name="connsiteX1" fmla="*/ 1226116 w 1303560"/>
              <a:gd name="connsiteY1" fmla="*/ 0 h 1574380"/>
              <a:gd name="connsiteX2" fmla="*/ 1303560 w 1303560"/>
              <a:gd name="connsiteY2" fmla="*/ 105569 h 1574380"/>
              <a:gd name="connsiteX3" fmla="*/ 415804 w 1303560"/>
              <a:gd name="connsiteY3" fmla="*/ 1574380 h 1574380"/>
              <a:gd name="connsiteX4" fmla="*/ 0 w 1303560"/>
              <a:gd name="connsiteY4" fmla="*/ 1556337 h 1574380"/>
              <a:gd name="connsiteX0" fmla="*/ 0 w 1246227"/>
              <a:gd name="connsiteY0" fmla="*/ 1580187 h 1580187"/>
              <a:gd name="connsiteX1" fmla="*/ 1168783 w 1246227"/>
              <a:gd name="connsiteY1" fmla="*/ 0 h 1580187"/>
              <a:gd name="connsiteX2" fmla="*/ 1246227 w 1246227"/>
              <a:gd name="connsiteY2" fmla="*/ 105569 h 1580187"/>
              <a:gd name="connsiteX3" fmla="*/ 358471 w 1246227"/>
              <a:gd name="connsiteY3" fmla="*/ 1574380 h 1580187"/>
              <a:gd name="connsiteX4" fmla="*/ 0 w 1246227"/>
              <a:gd name="connsiteY4" fmla="*/ 1580187 h 1580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27" h="1580187">
                <a:moveTo>
                  <a:pt x="0" y="1580187"/>
                </a:moveTo>
                <a:lnTo>
                  <a:pt x="1168783" y="0"/>
                </a:lnTo>
                <a:lnTo>
                  <a:pt x="1246227" y="105569"/>
                </a:lnTo>
                <a:lnTo>
                  <a:pt x="358471" y="1574380"/>
                </a:lnTo>
                <a:lnTo>
                  <a:pt x="0" y="15801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4" name="Полилиния: Фигура 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17193105">
            <a:off x="11374788" y="284642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3" name="Полилиния: Фигура 22">
            <a:extLst>
              <a:ext uri="{FF2B5EF4-FFF2-40B4-BE49-F238E27FC236}">
                <a16:creationId xmlns:a16="http://schemas.microsoft.com/office/drawing/2014/main" id="{FF9CE8FE-77D6-45E0-BBF7-78F07AC29771}"/>
              </a:ext>
            </a:extLst>
          </p:cNvPr>
          <p:cNvSpPr/>
          <p:nvPr userDrawn="1"/>
        </p:nvSpPr>
        <p:spPr>
          <a:xfrm rot="17193105">
            <a:off x="10879052" y="2627354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37BBBFC2-32EB-4335-9980-A7CF236703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800" y="1080000"/>
            <a:ext cx="11339513" cy="276561"/>
          </a:xfrm>
        </p:spPr>
        <p:txBody>
          <a:bodyPr rtlCol="0"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 rtl="0"/>
            <a:r>
              <a:rPr lang="ru-RU" noProof="0" dirty="0"/>
              <a:t>Под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15058552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олилиния: Фигура 14">
            <a:extLst>
              <a:ext uri="{FF2B5EF4-FFF2-40B4-BE49-F238E27FC236}">
                <a16:creationId xmlns:a16="http://schemas.microsoft.com/office/drawing/2014/main" id="{B29137C9-7B18-454C-AB56-2B4631DFE59D}"/>
              </a:ext>
            </a:extLst>
          </p:cNvPr>
          <p:cNvSpPr/>
          <p:nvPr userDrawn="1"/>
        </p:nvSpPr>
        <p:spPr>
          <a:xfrm rot="14199158">
            <a:off x="10161654" y="-236402"/>
            <a:ext cx="1957093" cy="1399810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57093" h="1399810">
                <a:moveTo>
                  <a:pt x="0" y="318772"/>
                </a:moveTo>
                <a:lnTo>
                  <a:pt x="858544" y="36067"/>
                </a:lnTo>
                <a:lnTo>
                  <a:pt x="1957093" y="0"/>
                </a:lnTo>
                <a:lnTo>
                  <a:pt x="1012700" y="1399810"/>
                </a:lnTo>
                <a:lnTo>
                  <a:pt x="172487" y="1221089"/>
                </a:lnTo>
                <a:lnTo>
                  <a:pt x="0" y="3187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4" name="Полилиния: Фигура 13">
            <a:extLst>
              <a:ext uri="{FF2B5EF4-FFF2-40B4-BE49-F238E27FC236}">
                <a16:creationId xmlns:a16="http://schemas.microsoft.com/office/drawing/2014/main" id="{0C7CDA8E-8D79-474E-8278-7D77C867E238}"/>
              </a:ext>
            </a:extLst>
          </p:cNvPr>
          <p:cNvSpPr/>
          <p:nvPr userDrawn="1"/>
        </p:nvSpPr>
        <p:spPr>
          <a:xfrm rot="6973557">
            <a:off x="9799840" y="198216"/>
            <a:ext cx="748251" cy="780669"/>
          </a:xfrm>
          <a:custGeom>
            <a:avLst/>
            <a:gdLst>
              <a:gd name="connsiteX0" fmla="*/ 0 w 1980696"/>
              <a:gd name="connsiteY0" fmla="*/ 2066510 h 2066510"/>
              <a:gd name="connsiteX1" fmla="*/ 1138078 w 1980696"/>
              <a:gd name="connsiteY1" fmla="*/ 0 h 2066510"/>
              <a:gd name="connsiteX2" fmla="*/ 1980696 w 1980696"/>
              <a:gd name="connsiteY2" fmla="*/ 1530016 h 2066510"/>
              <a:gd name="connsiteX3" fmla="*/ 1459417 w 1980696"/>
              <a:gd name="connsiteY3" fmla="*/ 2066510 h 2066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0696" h="2066510">
                <a:moveTo>
                  <a:pt x="0" y="2066510"/>
                </a:moveTo>
                <a:lnTo>
                  <a:pt x="1138078" y="0"/>
                </a:lnTo>
                <a:lnTo>
                  <a:pt x="1980696" y="1530016"/>
                </a:lnTo>
                <a:lnTo>
                  <a:pt x="1459417" y="206651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24" name="Полилиния: Фигура 23">
            <a:extLst>
              <a:ext uri="{FF2B5EF4-FFF2-40B4-BE49-F238E27FC236}">
                <a16:creationId xmlns:a16="http://schemas.microsoft.com/office/drawing/2014/main" id="{4F0A2415-21FA-4B06-89CA-A379C8C2E262}"/>
              </a:ext>
            </a:extLst>
          </p:cNvPr>
          <p:cNvSpPr/>
          <p:nvPr userDrawn="1"/>
        </p:nvSpPr>
        <p:spPr>
          <a:xfrm rot="5483574">
            <a:off x="9854193" y="808595"/>
            <a:ext cx="243160" cy="406553"/>
          </a:xfrm>
          <a:custGeom>
            <a:avLst/>
            <a:gdLst>
              <a:gd name="connsiteX0" fmla="*/ 243160 w 243160"/>
              <a:gd name="connsiteY0" fmla="*/ 342071 h 406553"/>
              <a:gd name="connsiteX1" fmla="*/ 156493 w 243160"/>
              <a:gd name="connsiteY1" fmla="*/ 406553 h 406553"/>
              <a:gd name="connsiteX2" fmla="*/ 0 w 243160"/>
              <a:gd name="connsiteY2" fmla="*/ 0 h 406553"/>
              <a:gd name="connsiteX3" fmla="*/ 243160 w 243160"/>
              <a:gd name="connsiteY3" fmla="*/ 342071 h 406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60" h="406553">
                <a:moveTo>
                  <a:pt x="243160" y="342071"/>
                </a:moveTo>
                <a:lnTo>
                  <a:pt x="156493" y="406553"/>
                </a:lnTo>
                <a:lnTo>
                  <a:pt x="0" y="0"/>
                </a:lnTo>
                <a:lnTo>
                  <a:pt x="243160" y="3420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2" name="Полилиния: Фигура 21">
            <a:extLst>
              <a:ext uri="{FF2B5EF4-FFF2-40B4-BE49-F238E27FC236}">
                <a16:creationId xmlns:a16="http://schemas.microsoft.com/office/drawing/2014/main" id="{9AACAC53-33A6-4BBC-8C68-0C56D0B39F57}"/>
              </a:ext>
            </a:extLst>
          </p:cNvPr>
          <p:cNvSpPr/>
          <p:nvPr userDrawn="1"/>
        </p:nvSpPr>
        <p:spPr>
          <a:xfrm rot="14235708">
            <a:off x="11753205" y="112024"/>
            <a:ext cx="332291" cy="247882"/>
          </a:xfrm>
          <a:custGeom>
            <a:avLst/>
            <a:gdLst>
              <a:gd name="connsiteX0" fmla="*/ 0 w 3571215"/>
              <a:gd name="connsiteY0" fmla="*/ 3023156 h 3737093"/>
              <a:gd name="connsiteX1" fmla="*/ 993291 w 3571215"/>
              <a:gd name="connsiteY1" fmla="*/ 0 h 3737093"/>
              <a:gd name="connsiteX2" fmla="*/ 3571215 w 3571215"/>
              <a:gd name="connsiteY2" fmla="*/ 847006 h 3737093"/>
              <a:gd name="connsiteX3" fmla="*/ 1392370 w 3571215"/>
              <a:gd name="connsiteY3" fmla="*/ 3639100 h 3737093"/>
              <a:gd name="connsiteX4" fmla="*/ 393183 w 3571215"/>
              <a:gd name="connsiteY4" fmla="*/ 3737093 h 3737093"/>
              <a:gd name="connsiteX5" fmla="*/ 0 w 3571215"/>
              <a:gd name="connsiteY5" fmla="*/ 3023156 h 3737093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1392370 w 3571215"/>
              <a:gd name="connsiteY3" fmla="*/ 2792094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890087"/>
              <a:gd name="connsiteX1" fmla="*/ 2472666 w 3571215"/>
              <a:gd name="connsiteY1" fmla="*/ 36067 h 2890087"/>
              <a:gd name="connsiteX2" fmla="*/ 3571215 w 3571215"/>
              <a:gd name="connsiteY2" fmla="*/ 0 h 2890087"/>
              <a:gd name="connsiteX3" fmla="*/ 2626822 w 3571215"/>
              <a:gd name="connsiteY3" fmla="*/ 1399810 h 2890087"/>
              <a:gd name="connsiteX4" fmla="*/ 393183 w 3571215"/>
              <a:gd name="connsiteY4" fmla="*/ 2890087 h 2890087"/>
              <a:gd name="connsiteX5" fmla="*/ 0 w 3571215"/>
              <a:gd name="connsiteY5" fmla="*/ 2176150 h 2890087"/>
              <a:gd name="connsiteX0" fmla="*/ 0 w 3571215"/>
              <a:gd name="connsiteY0" fmla="*/ 2176150 h 2176150"/>
              <a:gd name="connsiteX1" fmla="*/ 2472666 w 3571215"/>
              <a:gd name="connsiteY1" fmla="*/ 36067 h 2176150"/>
              <a:gd name="connsiteX2" fmla="*/ 3571215 w 3571215"/>
              <a:gd name="connsiteY2" fmla="*/ 0 h 2176150"/>
              <a:gd name="connsiteX3" fmla="*/ 2626822 w 3571215"/>
              <a:gd name="connsiteY3" fmla="*/ 1399810 h 2176150"/>
              <a:gd name="connsiteX4" fmla="*/ 2309686 w 3571215"/>
              <a:gd name="connsiteY4" fmla="*/ 820126 h 2176150"/>
              <a:gd name="connsiteX5" fmla="*/ 0 w 3571215"/>
              <a:gd name="connsiteY5" fmla="*/ 2176150 h 217615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695564 w 1957093"/>
              <a:gd name="connsiteY4" fmla="*/ 820126 h 1399810"/>
              <a:gd name="connsiteX5" fmla="*/ 0 w 1957093"/>
              <a:gd name="connsiteY5" fmla="*/ 318772 h 1399810"/>
              <a:gd name="connsiteX0" fmla="*/ 0 w 1957093"/>
              <a:gd name="connsiteY0" fmla="*/ 318772 h 1399810"/>
              <a:gd name="connsiteX1" fmla="*/ 858544 w 1957093"/>
              <a:gd name="connsiteY1" fmla="*/ 36067 h 1399810"/>
              <a:gd name="connsiteX2" fmla="*/ 1957093 w 1957093"/>
              <a:gd name="connsiteY2" fmla="*/ 0 h 1399810"/>
              <a:gd name="connsiteX3" fmla="*/ 1012700 w 1957093"/>
              <a:gd name="connsiteY3" fmla="*/ 1399810 h 1399810"/>
              <a:gd name="connsiteX4" fmla="*/ 172487 w 1957093"/>
              <a:gd name="connsiteY4" fmla="*/ 1221089 h 1399810"/>
              <a:gd name="connsiteX5" fmla="*/ 0 w 1957093"/>
              <a:gd name="connsiteY5" fmla="*/ 318772 h 1399810"/>
              <a:gd name="connsiteX0" fmla="*/ 0 w 1449157"/>
              <a:gd name="connsiteY0" fmla="*/ 282705 h 1363743"/>
              <a:gd name="connsiteX1" fmla="*/ 858544 w 1449157"/>
              <a:gd name="connsiteY1" fmla="*/ 0 h 1363743"/>
              <a:gd name="connsiteX2" fmla="*/ 1449157 w 1449157"/>
              <a:gd name="connsiteY2" fmla="*/ 715834 h 1363743"/>
              <a:gd name="connsiteX3" fmla="*/ 1012700 w 1449157"/>
              <a:gd name="connsiteY3" fmla="*/ 1363743 h 1363743"/>
              <a:gd name="connsiteX4" fmla="*/ 172487 w 1449157"/>
              <a:gd name="connsiteY4" fmla="*/ 1185022 h 1363743"/>
              <a:gd name="connsiteX5" fmla="*/ 0 w 1449157"/>
              <a:gd name="connsiteY5" fmla="*/ 282705 h 1363743"/>
              <a:gd name="connsiteX0" fmla="*/ 0 w 1449157"/>
              <a:gd name="connsiteY0" fmla="*/ 0 h 1081038"/>
              <a:gd name="connsiteX1" fmla="*/ 1449157 w 1449157"/>
              <a:gd name="connsiteY1" fmla="*/ 433129 h 1081038"/>
              <a:gd name="connsiteX2" fmla="*/ 1012700 w 1449157"/>
              <a:gd name="connsiteY2" fmla="*/ 1081038 h 1081038"/>
              <a:gd name="connsiteX3" fmla="*/ 172487 w 1449157"/>
              <a:gd name="connsiteY3" fmla="*/ 902317 h 1081038"/>
              <a:gd name="connsiteX4" fmla="*/ 0 w 1449157"/>
              <a:gd name="connsiteY4" fmla="*/ 0 h 1081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9157" h="1081038">
                <a:moveTo>
                  <a:pt x="0" y="0"/>
                </a:moveTo>
                <a:lnTo>
                  <a:pt x="1449157" y="433129"/>
                </a:lnTo>
                <a:lnTo>
                  <a:pt x="1012700" y="1081038"/>
                </a:lnTo>
                <a:lnTo>
                  <a:pt x="172487" y="90231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5" name="Полилиния: Фигура 24">
            <a:extLst>
              <a:ext uri="{FF2B5EF4-FFF2-40B4-BE49-F238E27FC236}">
                <a16:creationId xmlns:a16="http://schemas.microsoft.com/office/drawing/2014/main" id="{ED86A7C4-9F1E-4F96-8AD9-5B75BEE364BE}"/>
              </a:ext>
            </a:extLst>
          </p:cNvPr>
          <p:cNvSpPr/>
          <p:nvPr userDrawn="1"/>
        </p:nvSpPr>
        <p:spPr>
          <a:xfrm rot="13336516">
            <a:off x="10313236" y="1084299"/>
            <a:ext cx="648657" cy="777553"/>
          </a:xfrm>
          <a:custGeom>
            <a:avLst/>
            <a:gdLst>
              <a:gd name="connsiteX0" fmla="*/ 0 w 648657"/>
              <a:gd name="connsiteY0" fmla="*/ 777553 h 777553"/>
              <a:gd name="connsiteX1" fmla="*/ 255474 w 648657"/>
              <a:gd name="connsiteY1" fmla="*/ 0 h 777553"/>
              <a:gd name="connsiteX2" fmla="*/ 648657 w 648657"/>
              <a:gd name="connsiteY2" fmla="*/ 713937 h 777553"/>
              <a:gd name="connsiteX3" fmla="*/ 0 w 648657"/>
              <a:gd name="connsiteY3" fmla="*/ 777553 h 77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657" h="777553">
                <a:moveTo>
                  <a:pt x="0" y="777553"/>
                </a:moveTo>
                <a:lnTo>
                  <a:pt x="255474" y="0"/>
                </a:lnTo>
                <a:lnTo>
                  <a:pt x="648657" y="713937"/>
                </a:lnTo>
                <a:lnTo>
                  <a:pt x="0" y="77755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6" name="Полилиния: Фигура 25">
            <a:extLst>
              <a:ext uri="{FF2B5EF4-FFF2-40B4-BE49-F238E27FC236}">
                <a16:creationId xmlns:a16="http://schemas.microsoft.com/office/drawing/2014/main" id="{B63BFE72-A1DE-4CFE-9B52-553C99D52699}"/>
              </a:ext>
            </a:extLst>
          </p:cNvPr>
          <p:cNvSpPr/>
          <p:nvPr userDrawn="1"/>
        </p:nvSpPr>
        <p:spPr>
          <a:xfrm rot="5738060">
            <a:off x="9844293" y="1032301"/>
            <a:ext cx="692798" cy="510610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0" name="Полилиния: Фигура 29">
            <a:extLst>
              <a:ext uri="{FF2B5EF4-FFF2-40B4-BE49-F238E27FC236}">
                <a16:creationId xmlns:a16="http://schemas.microsoft.com/office/drawing/2014/main" id="{9C266CD9-D77B-4B4D-8673-531E2784C610}"/>
              </a:ext>
            </a:extLst>
          </p:cNvPr>
          <p:cNvSpPr/>
          <p:nvPr userDrawn="1"/>
        </p:nvSpPr>
        <p:spPr>
          <a:xfrm rot="8291645">
            <a:off x="10081798" y="798094"/>
            <a:ext cx="371360" cy="273702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98965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, без графи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9E5E346-F307-4307-949D-77CDB6E657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4446C0-A637-4726-88A6-815A6AB63B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103350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!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715" y="86714"/>
            <a:ext cx="12018572" cy="6684572"/>
          </a:xfrm>
          <a:solidFill>
            <a:schemeClr val="bg1">
              <a:lumMod val="85000"/>
            </a:schemeClr>
          </a:solidFill>
        </p:spPr>
        <p:txBody>
          <a:bodyPr lIns="360000" tIns="360000" rtlCol="0"/>
          <a:lstStyle>
            <a:lvl1pPr marL="0" indent="0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ru-RU" noProof="0" dirty="0"/>
              <a:t>Вставьте или перетащите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94607" y="2237328"/>
            <a:ext cx="7202786" cy="1449788"/>
          </a:xfrm>
          <a:solidFill>
            <a:schemeClr val="tx1">
              <a:alpha val="80000"/>
            </a:schemeClr>
          </a:solidFill>
        </p:spPr>
        <p:txBody>
          <a:bodyPr lIns="288000" rIns="2160000" bIns="144000" rtlCol="0" anchor="b" anchorCtr="0"/>
          <a:lstStyle>
            <a:lvl1pPr algn="r">
              <a:lnSpc>
                <a:spcPct val="70000"/>
              </a:lnSpc>
              <a:defRPr sz="5500" spc="-150">
                <a:solidFill>
                  <a:schemeClr val="bg1"/>
                </a:solidFill>
              </a:defRPr>
            </a:lvl1pPr>
          </a:lstStyle>
          <a:p>
            <a:pPr rtl="0"/>
            <a:r>
              <a:rPr lang="ru-RU" noProof="0" dirty="0"/>
              <a:t>Спасибо за внимание!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94607" y="3684672"/>
            <a:ext cx="5282503" cy="1604172"/>
          </a:xfrm>
          <a:solidFill>
            <a:schemeClr val="tx1">
              <a:alpha val="90000"/>
            </a:schemeClr>
          </a:solidFill>
        </p:spPr>
        <p:txBody>
          <a:bodyPr lIns="216000" tIns="144000" rIns="576000" rtlCol="0"/>
          <a:lstStyle>
            <a:lvl1pPr marL="0" indent="0" algn="r">
              <a:buNone/>
              <a:defRPr sz="21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9688AEDF-1396-4322-8818-9D1C7976FCDF}"/>
              </a:ext>
            </a:extLst>
          </p:cNvPr>
          <p:cNvCxnSpPr>
            <a:cxnSpLocks/>
          </p:cNvCxnSpPr>
          <p:nvPr userDrawn="1"/>
        </p:nvCxnSpPr>
        <p:spPr>
          <a:xfrm>
            <a:off x="7777113" y="2412127"/>
            <a:ext cx="0" cy="1100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Текст 5">
            <a:extLst>
              <a:ext uri="{FF2B5EF4-FFF2-40B4-BE49-F238E27FC236}">
                <a16:creationId xmlns:a16="http://schemas.microsoft.com/office/drawing/2014/main" id="{BC122267-81F5-4D7C-8854-830FD491A4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0" y="4142258"/>
            <a:ext cx="4508500" cy="277342"/>
          </a:xfrm>
        </p:spPr>
        <p:txBody>
          <a:bodyPr rtlCol="0" anchor="ctr"/>
          <a:lstStyle>
            <a:lvl1pPr marL="0" indent="0" algn="r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266700" indent="0" algn="r">
              <a:buNone/>
              <a:defRPr>
                <a:solidFill>
                  <a:schemeClr val="bg1"/>
                </a:solidFill>
              </a:defRPr>
            </a:lvl2pPr>
            <a:lvl3pPr marL="542925" indent="0" algn="r">
              <a:buNone/>
              <a:defRPr>
                <a:solidFill>
                  <a:schemeClr val="bg1"/>
                </a:solidFill>
              </a:defRPr>
            </a:lvl3pPr>
            <a:lvl4pPr marL="809625" indent="0" algn="r">
              <a:buNone/>
              <a:defRPr>
                <a:solidFill>
                  <a:schemeClr val="bg1"/>
                </a:solidFill>
              </a:defRPr>
            </a:lvl4pPr>
            <a:lvl5pPr marL="1076325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 dirty="0"/>
              <a:t>Контактный номер</a:t>
            </a:r>
          </a:p>
        </p:txBody>
      </p:sp>
      <p:sp>
        <p:nvSpPr>
          <p:cNvPr id="9" name="Текст 5">
            <a:extLst>
              <a:ext uri="{FF2B5EF4-FFF2-40B4-BE49-F238E27FC236}">
                <a16:creationId xmlns:a16="http://schemas.microsoft.com/office/drawing/2014/main" id="{D1624B9A-AB57-40B6-89A6-D34ED60BBF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67000" y="4448040"/>
            <a:ext cx="4508500" cy="277342"/>
          </a:xfrm>
        </p:spPr>
        <p:txBody>
          <a:bodyPr rtlCol="0" anchor="ctr"/>
          <a:lstStyle>
            <a:lvl1pPr marL="0" indent="0" algn="r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266700" indent="0" algn="r">
              <a:buNone/>
              <a:defRPr>
                <a:solidFill>
                  <a:schemeClr val="bg1"/>
                </a:solidFill>
              </a:defRPr>
            </a:lvl2pPr>
            <a:lvl3pPr marL="542925" indent="0" algn="r">
              <a:buNone/>
              <a:defRPr>
                <a:solidFill>
                  <a:schemeClr val="bg1"/>
                </a:solidFill>
              </a:defRPr>
            </a:lvl3pPr>
            <a:lvl4pPr marL="809625" indent="0" algn="r">
              <a:buNone/>
              <a:defRPr>
                <a:solidFill>
                  <a:schemeClr val="bg1"/>
                </a:solidFill>
              </a:defRPr>
            </a:lvl4pPr>
            <a:lvl5pPr marL="1076325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 dirty="0"/>
              <a:t>Электронная почта или контакт в социальной сети</a:t>
            </a:r>
          </a:p>
        </p:txBody>
      </p:sp>
      <p:sp>
        <p:nvSpPr>
          <p:cNvPr id="8" name="Рисунок 5">
            <a:extLst>
              <a:ext uri="{FF2B5EF4-FFF2-40B4-BE49-F238E27FC236}">
                <a16:creationId xmlns:a16="http://schemas.microsoft.com/office/drawing/2014/main" id="{61EA5FFD-797F-43FF-B13A-5DA8C820EE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65008" y="2587752"/>
            <a:ext cx="1344168" cy="704088"/>
          </a:xfrm>
        </p:spPr>
        <p:txBody>
          <a:bodyPr rtlCol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-RU" noProof="0" dirty="0"/>
              <a:t>Логотип</a:t>
            </a:r>
          </a:p>
        </p:txBody>
      </p:sp>
      <p:sp>
        <p:nvSpPr>
          <p:cNvPr id="10" name="Текст 5">
            <a:extLst>
              <a:ext uri="{FF2B5EF4-FFF2-40B4-BE49-F238E27FC236}">
                <a16:creationId xmlns:a16="http://schemas.microsoft.com/office/drawing/2014/main" id="{7436EF9B-F86C-114A-BB87-C439E5F129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0" y="4753821"/>
            <a:ext cx="4508500" cy="277342"/>
          </a:xfrm>
        </p:spPr>
        <p:txBody>
          <a:bodyPr rtlCol="0" anchor="ctr"/>
          <a:lstStyle>
            <a:lvl1pPr marL="0" indent="0" algn="r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 marL="266700" indent="0" algn="r">
              <a:buNone/>
              <a:defRPr>
                <a:solidFill>
                  <a:schemeClr val="bg1"/>
                </a:solidFill>
              </a:defRPr>
            </a:lvl2pPr>
            <a:lvl3pPr marL="542925" indent="0" algn="r">
              <a:buNone/>
              <a:defRPr>
                <a:solidFill>
                  <a:schemeClr val="bg1"/>
                </a:solidFill>
              </a:defRPr>
            </a:lvl3pPr>
            <a:lvl4pPr marL="809625" indent="0" algn="r">
              <a:buNone/>
              <a:defRPr>
                <a:solidFill>
                  <a:schemeClr val="bg1"/>
                </a:solidFill>
              </a:defRPr>
            </a:lvl4pPr>
            <a:lvl5pPr marL="1076325" indent="0" algn="r">
              <a:buNone/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ru-RU" noProof="0" dirty="0"/>
              <a:t>Адрес веб-сайта</a:t>
            </a:r>
          </a:p>
        </p:txBody>
      </p:sp>
    </p:spTree>
    <p:extLst>
      <p:ext uri="{BB962C8B-B14F-4D97-AF65-F5344CB8AC3E}">
        <p14:creationId xmlns:p14="http://schemas.microsoft.com/office/powerpoint/2010/main" val="3475950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0654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74E1F0E-A827-4F38-BAAB-5D5831E0813A}"/>
              </a:ext>
            </a:extLst>
          </p:cNvPr>
          <p:cNvSpPr/>
          <p:nvPr userDrawn="1"/>
        </p:nvSpPr>
        <p:spPr>
          <a:xfrm>
            <a:off x="0" y="6771286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B7D9229-CE8B-44FD-B1E6-2FE619F40B4F}"/>
              </a:ext>
            </a:extLst>
          </p:cNvPr>
          <p:cNvSpPr/>
          <p:nvPr userDrawn="1"/>
        </p:nvSpPr>
        <p:spPr>
          <a:xfrm>
            <a:off x="0" y="0"/>
            <a:ext cx="12192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4683AF15-88E9-4D75-9D5E-7E4924887E91}"/>
              </a:ext>
            </a:extLst>
          </p:cNvPr>
          <p:cNvSpPr/>
          <p:nvPr userDrawn="1"/>
        </p:nvSpPr>
        <p:spPr>
          <a:xfrm rot="5400000">
            <a:off x="-3385643" y="3385642"/>
            <a:ext cx="6858001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3B18E46-480F-48E8-9675-259D3D06A00D}"/>
              </a:ext>
            </a:extLst>
          </p:cNvPr>
          <p:cNvSpPr/>
          <p:nvPr userDrawn="1"/>
        </p:nvSpPr>
        <p:spPr>
          <a:xfrm rot="5400000">
            <a:off x="8719643" y="3385643"/>
            <a:ext cx="6858000" cy="86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714" y="86714"/>
            <a:ext cx="6009285" cy="6684572"/>
          </a:xfrm>
          <a:solidFill>
            <a:schemeClr val="bg1">
              <a:lumMod val="85000"/>
            </a:schemeClr>
          </a:solidFill>
        </p:spPr>
        <p:txBody>
          <a:bodyPr lIns="0" tIns="0" rtlCol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ru-RU" noProof="0" dirty="0"/>
              <a:t>Вставьте или перетащите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5999" y="86714"/>
            <a:ext cx="6009287" cy="4068402"/>
          </a:xfrm>
          <a:solidFill>
            <a:schemeClr val="tx1">
              <a:alpha val="80000"/>
            </a:schemeClr>
          </a:solidFill>
        </p:spPr>
        <p:txBody>
          <a:bodyPr lIns="288000" rIns="432000" bIns="144000" rtlCol="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pPr rtl="0"/>
            <a:r>
              <a:rPr lang="ru-RU" noProof="0" dirty="0"/>
              <a:t>Щелкните, чтобы изменить </a:t>
            </a:r>
            <a:br>
              <a:rPr lang="ru-RU" noProof="0" dirty="0"/>
            </a:br>
            <a:r>
              <a:rPr lang="ru-RU" noProof="0" dirty="0"/>
              <a:t>Стиль образца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152672"/>
            <a:ext cx="6009287" cy="1818422"/>
          </a:xfrm>
          <a:solidFill>
            <a:schemeClr val="bg1">
              <a:lumMod val="95000"/>
              <a:alpha val="80000"/>
            </a:schemeClr>
          </a:solidFill>
        </p:spPr>
        <p:txBody>
          <a:bodyPr lIns="288000" tIns="144000" rIns="432000" rtlCol="0"/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6" name="Надпись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rtl="0"/>
            <a:endParaRPr lang="ru-RU" sz="1200" noProof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047435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6C43255F-7387-4F1A-995F-95A1AC5E3154}"/>
              </a:ext>
            </a:extLst>
          </p:cNvPr>
          <p:cNvSpPr/>
          <p:nvPr userDrawn="1"/>
        </p:nvSpPr>
        <p:spPr bwMode="ltGray">
          <a:xfrm>
            <a:off x="6620302" y="0"/>
            <a:ext cx="5571699" cy="6858000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481F8346-A606-4C61-8F7C-1EDB260332E0}"/>
              </a:ext>
            </a:extLst>
          </p:cNvPr>
          <p:cNvSpPr/>
          <p:nvPr userDrawn="1"/>
        </p:nvSpPr>
        <p:spPr bwMode="ltGray">
          <a:xfrm>
            <a:off x="0" y="0"/>
            <a:ext cx="8638223" cy="6858000"/>
          </a:xfrm>
          <a:custGeom>
            <a:avLst/>
            <a:gdLst/>
            <a:ahLst/>
            <a:cxnLst/>
            <a:rect l="l" t="t" r="r" b="b"/>
            <a:pathLst>
              <a:path w="11517630" h="9144000">
                <a:moveTo>
                  <a:pt x="9892926" y="0"/>
                </a:moveTo>
                <a:lnTo>
                  <a:pt x="1805039" y="0"/>
                </a:lnTo>
                <a:lnTo>
                  <a:pt x="0" y="3575"/>
                </a:lnTo>
                <a:lnTo>
                  <a:pt x="0" y="2013061"/>
                </a:lnTo>
                <a:lnTo>
                  <a:pt x="928" y="2246592"/>
                </a:lnTo>
                <a:lnTo>
                  <a:pt x="14277" y="5348659"/>
                </a:lnTo>
                <a:lnTo>
                  <a:pt x="17104" y="6110531"/>
                </a:lnTo>
                <a:lnTo>
                  <a:pt x="18863" y="6669078"/>
                </a:lnTo>
                <a:lnTo>
                  <a:pt x="20055" y="7125990"/>
                </a:lnTo>
                <a:lnTo>
                  <a:pt x="20896" y="7532084"/>
                </a:lnTo>
                <a:lnTo>
                  <a:pt x="21443" y="7887386"/>
                </a:lnTo>
                <a:lnTo>
                  <a:pt x="21797" y="8242666"/>
                </a:lnTo>
                <a:lnTo>
                  <a:pt x="21906" y="8851684"/>
                </a:lnTo>
                <a:lnTo>
                  <a:pt x="21715" y="9144000"/>
                </a:lnTo>
                <a:lnTo>
                  <a:pt x="9912903" y="9144000"/>
                </a:lnTo>
                <a:lnTo>
                  <a:pt x="11517630" y="4586052"/>
                </a:lnTo>
                <a:lnTo>
                  <a:pt x="98929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4677075"/>
            <a:ext cx="720352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170405"/>
            <a:ext cx="7203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3294405"/>
            <a:ext cx="720352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DC7A0D-B629-46D7-AF08-7982718C1E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941" y="548577"/>
            <a:ext cx="2402926" cy="57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7140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93802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436690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90903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718967"/>
            <a:ext cx="11082528" cy="538609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745763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20352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B63EDC0-F170-42D2-AC0A-E7B62F3B298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7420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BC53B2C-4D9C-4373-A56A-8B3D940421D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37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54810"/>
            <a:ext cx="5065776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A43836-5B9C-4391-86E5-00698277162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231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058912" y="0"/>
            <a:ext cx="4129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69677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A59E8B-CBCC-47BE-B5FF-AB919DE9BB6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740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пное изображение и текс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00" y="3517901"/>
            <a:ext cx="6012000" cy="1409700"/>
          </a:xfrm>
          <a:solidFill>
            <a:schemeClr val="tx1"/>
          </a:solidFill>
        </p:spPr>
        <p:txBody>
          <a:bodyPr lIns="288000" rIns="432000" bIns="144000" rtlCol="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pPr rtl="0"/>
            <a:r>
              <a:rPr lang="ru-RU" noProof="0" dirty="0"/>
              <a:t>Щелкните, чтобы изменить </a:t>
            </a:r>
            <a:br>
              <a:rPr lang="ru-RU" noProof="0" dirty="0"/>
            </a:br>
            <a:r>
              <a:rPr lang="ru-RU" noProof="0" dirty="0"/>
              <a:t>Стиль образца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000" y="4927600"/>
            <a:ext cx="6012000" cy="1845743"/>
          </a:xfrm>
          <a:solidFill>
            <a:schemeClr val="tx1">
              <a:lumMod val="85000"/>
              <a:lumOff val="15000"/>
            </a:schemeClr>
          </a:solidFill>
        </p:spPr>
        <p:txBody>
          <a:bodyPr lIns="288000" tIns="144000" rIns="432000" rtlCol="0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6" name="Надпись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rtl="0"/>
            <a:endParaRPr lang="ru-RU" sz="1200" noProof="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000" y="86714"/>
            <a:ext cx="6009285" cy="3431187"/>
          </a:xfrm>
          <a:solidFill>
            <a:srgbClr val="333333"/>
          </a:solidFill>
        </p:spPr>
        <p:txBody>
          <a:bodyPr lIns="0" tIns="0" rtlCol="0" anchor="ctr"/>
          <a:lstStyle>
            <a:lvl1pPr marL="0" indent="0" algn="ctr">
              <a:buNone/>
              <a:defRPr sz="1100" i="1">
                <a:solidFill>
                  <a:schemeClr val="bg1">
                    <a:lumMod val="8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ru-RU" noProof="0" dirty="0"/>
              <a:t>Вставьте или перетащите изображение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ED5F0C9D-A08F-4539-BA26-61D24BBE6E9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64300" y="1152000"/>
            <a:ext cx="5307700" cy="4680000"/>
          </a:xfrm>
        </p:spPr>
        <p:txBody>
          <a:bodyPr rtlCol="0"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072830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54810"/>
            <a:ext cx="7918704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61C581-B3D6-4FBE-A901-2C4DAB9197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2378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A5BDD4A-C5FE-4B3C-AC01-D2E195510F9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009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57BC5CF-589F-4A4B-AF68-E09DD56627D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198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EB07CB-2BDE-49DA-BF17-5EFC17E25CA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472168" y="3039533"/>
            <a:ext cx="3247664" cy="77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533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11134798" cy="4319248"/>
          </a:xfrm>
          <a:noFill/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394" y="6152561"/>
            <a:ext cx="6829706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6000" y="6314695"/>
            <a:ext cx="914426" cy="36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rgbClr val="7F7F7F"/>
                </a:solidFill>
                <a:latin typeface="HEINEKEN Core" panose="02000503050000020004" pitchFamily="2" charset="0"/>
              </a:defRPr>
            </a:lvl1pPr>
          </a:lstStyle>
          <a:p>
            <a:fld id="{75A4F164-3A46-4CEE-A25C-CA523D5E42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7565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107773-7B8F-44C7-9372-D9CFC3D26B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3D2189A9-8E23-4B96-86B3-994EC279DFBC}"/>
              </a:ext>
            </a:extLst>
          </p:cNvPr>
          <p:cNvSpPr/>
          <p:nvPr userDrawn="1"/>
        </p:nvSpPr>
        <p:spPr bwMode="ltGray">
          <a:xfrm>
            <a:off x="6620302" y="0"/>
            <a:ext cx="5571699" cy="6858000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D5961DF4-6615-4967-A6D2-58063352CBB5}"/>
              </a:ext>
            </a:extLst>
          </p:cNvPr>
          <p:cNvSpPr/>
          <p:nvPr userDrawn="1"/>
        </p:nvSpPr>
        <p:spPr bwMode="ltGray">
          <a:xfrm>
            <a:off x="0" y="0"/>
            <a:ext cx="8638223" cy="6858000"/>
          </a:xfrm>
          <a:custGeom>
            <a:avLst/>
            <a:gdLst/>
            <a:ahLst/>
            <a:cxnLst/>
            <a:rect l="l" t="t" r="r" b="b"/>
            <a:pathLst>
              <a:path w="11517630" h="9144000">
                <a:moveTo>
                  <a:pt x="9892926" y="0"/>
                </a:moveTo>
                <a:lnTo>
                  <a:pt x="1805039" y="0"/>
                </a:lnTo>
                <a:lnTo>
                  <a:pt x="0" y="3575"/>
                </a:lnTo>
                <a:lnTo>
                  <a:pt x="0" y="2013061"/>
                </a:lnTo>
                <a:lnTo>
                  <a:pt x="928" y="2246592"/>
                </a:lnTo>
                <a:lnTo>
                  <a:pt x="14277" y="5348659"/>
                </a:lnTo>
                <a:lnTo>
                  <a:pt x="17104" y="6110531"/>
                </a:lnTo>
                <a:lnTo>
                  <a:pt x="18863" y="6669078"/>
                </a:lnTo>
                <a:lnTo>
                  <a:pt x="20055" y="7125990"/>
                </a:lnTo>
                <a:lnTo>
                  <a:pt x="20896" y="7532084"/>
                </a:lnTo>
                <a:lnTo>
                  <a:pt x="21443" y="7887386"/>
                </a:lnTo>
                <a:lnTo>
                  <a:pt x="21797" y="8242666"/>
                </a:lnTo>
                <a:lnTo>
                  <a:pt x="21906" y="8851684"/>
                </a:lnTo>
                <a:lnTo>
                  <a:pt x="21715" y="9144000"/>
                </a:lnTo>
                <a:lnTo>
                  <a:pt x="9912903" y="9144000"/>
                </a:lnTo>
                <a:lnTo>
                  <a:pt x="11517630" y="4586052"/>
                </a:lnTo>
                <a:lnTo>
                  <a:pt x="9892926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BEAA8FA-2C98-41CE-AF13-6220385A919A}"/>
              </a:ext>
            </a:extLst>
          </p:cNvPr>
          <p:cNvGrpSpPr/>
          <p:nvPr userDrawn="1"/>
        </p:nvGrpSpPr>
        <p:grpSpPr>
          <a:xfrm>
            <a:off x="551941" y="548578"/>
            <a:ext cx="2402925" cy="576326"/>
            <a:chOff x="551941" y="548578"/>
            <a:chExt cx="2402925" cy="57632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F3F817D-AABB-405A-9022-4D16F6B7AD6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1941" y="548578"/>
              <a:ext cx="406909" cy="39969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4AD5D3C-E116-4FD1-8478-5A96F50F63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049" y="797983"/>
              <a:ext cx="2173817" cy="326921"/>
            </a:xfrm>
            <a:prstGeom prst="rect">
              <a:avLst/>
            </a:prstGeom>
          </p:spPr>
        </p:pic>
      </p:grpSp>
      <p:sp>
        <p:nvSpPr>
          <p:cNvPr id="16" name="Documenttype">
            <a:extLst>
              <a:ext uri="{FF2B5EF4-FFF2-40B4-BE49-F238E27FC236}">
                <a16:creationId xmlns:a16="http://schemas.microsoft.com/office/drawing/2014/main" id="{D87D42DB-7AB8-41BA-9396-96742C31BD6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1" y="4677075"/>
            <a:ext cx="7203526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9986CB6D-32BE-41FD-8AC7-9FF1FA3DD50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2" y="4170405"/>
            <a:ext cx="7203526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19" name="Title">
            <a:extLst>
              <a:ext uri="{FF2B5EF4-FFF2-40B4-BE49-F238E27FC236}">
                <a16:creationId xmlns:a16="http://schemas.microsoft.com/office/drawing/2014/main" id="{006B4BA6-D3AF-435B-8F0C-A75015834CB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2" y="3294405"/>
            <a:ext cx="7203526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975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946519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863013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519916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718967"/>
            <a:ext cx="11082528" cy="538609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91086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11340000" cy="4680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24" name="Полилиния: Фигура 23">
            <a:extLst>
              <a:ext uri="{FF2B5EF4-FFF2-40B4-BE49-F238E27FC236}">
                <a16:creationId xmlns:a16="http://schemas.microsoft.com/office/drawing/2014/main" id="{5F6D6B0F-FF8B-4D60-B712-A57904D5502C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5" name="Полилиния: Фигура 24">
            <a:extLst>
              <a:ext uri="{FF2B5EF4-FFF2-40B4-BE49-F238E27FC236}">
                <a16:creationId xmlns:a16="http://schemas.microsoft.com/office/drawing/2014/main" id="{FFF5FB50-33B5-4195-92D6-70891F240926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6" name="Полилиния: Фигура 25">
            <a:extLst>
              <a:ext uri="{FF2B5EF4-FFF2-40B4-BE49-F238E27FC236}">
                <a16:creationId xmlns:a16="http://schemas.microsoft.com/office/drawing/2014/main" id="{EECD958F-56E9-4A3B-9C25-D5970592C848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7" name="Полилиния: Фигура 26">
            <a:extLst>
              <a:ext uri="{FF2B5EF4-FFF2-40B4-BE49-F238E27FC236}">
                <a16:creationId xmlns:a16="http://schemas.microsoft.com/office/drawing/2014/main" id="{72F4FF18-9272-43AF-912E-B1CF8BF148D4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8" name="Полилиния: Фигура 27">
            <a:extLst>
              <a:ext uri="{FF2B5EF4-FFF2-40B4-BE49-F238E27FC236}">
                <a16:creationId xmlns:a16="http://schemas.microsoft.com/office/drawing/2014/main" id="{AE9C7EB4-9E81-4394-8C2C-A54BBD15B51D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9" name="Полилиния: Фигура 28">
            <a:extLst>
              <a:ext uri="{FF2B5EF4-FFF2-40B4-BE49-F238E27FC236}">
                <a16:creationId xmlns:a16="http://schemas.microsoft.com/office/drawing/2014/main" id="{FE681EC0-A139-4B14-89E8-F237CB63D4C9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0" name="Полилиния: Фигура 29">
            <a:extLst>
              <a:ext uri="{FF2B5EF4-FFF2-40B4-BE49-F238E27FC236}">
                <a16:creationId xmlns:a16="http://schemas.microsoft.com/office/drawing/2014/main" id="{87F87648-ABB4-4C97-BB6D-58342407E9DF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1" name="Полилиния: Фигура 30">
            <a:extLst>
              <a:ext uri="{FF2B5EF4-FFF2-40B4-BE49-F238E27FC236}">
                <a16:creationId xmlns:a16="http://schemas.microsoft.com/office/drawing/2014/main" id="{0802EFEB-F4DF-4501-91AA-173B60EBBBAA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2" name="Полилиния: Фигура 31">
            <a:extLst>
              <a:ext uri="{FF2B5EF4-FFF2-40B4-BE49-F238E27FC236}">
                <a16:creationId xmlns:a16="http://schemas.microsoft.com/office/drawing/2014/main" id="{109FE51D-8E02-4ED7-862B-5CF838F7F77F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3" name="Полилиния: Фигура 32">
            <a:extLst>
              <a:ext uri="{FF2B5EF4-FFF2-40B4-BE49-F238E27FC236}">
                <a16:creationId xmlns:a16="http://schemas.microsoft.com/office/drawing/2014/main" id="{4ECB9E40-5923-4571-9C8E-D7412C1283B2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4" name="Полилиния: Фигура 33">
            <a:extLst>
              <a:ext uri="{FF2B5EF4-FFF2-40B4-BE49-F238E27FC236}">
                <a16:creationId xmlns:a16="http://schemas.microsoft.com/office/drawing/2014/main" id="{E46052C9-826B-47AC-9F6B-3078D4F43748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5" name="Полилиния: Фигура 34">
            <a:extLst>
              <a:ext uri="{FF2B5EF4-FFF2-40B4-BE49-F238E27FC236}">
                <a16:creationId xmlns:a16="http://schemas.microsoft.com/office/drawing/2014/main" id="{0C3867F5-4C6F-48BE-9DFF-9046D1FE6771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6" name="Полилиния: Фигура 35">
            <a:extLst>
              <a:ext uri="{FF2B5EF4-FFF2-40B4-BE49-F238E27FC236}">
                <a16:creationId xmlns:a16="http://schemas.microsoft.com/office/drawing/2014/main" id="{7B0CB40F-9E6F-457D-9C1F-9769BC3AE13E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7" name="Полилиния: Фигура 36">
            <a:extLst>
              <a:ext uri="{FF2B5EF4-FFF2-40B4-BE49-F238E27FC236}">
                <a16:creationId xmlns:a16="http://schemas.microsoft.com/office/drawing/2014/main" id="{0FCD03E7-2128-4C04-A914-409506646A76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7345016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948111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D08A778-5214-469F-A86D-140574FB7BDB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7FD4D71-611C-4A05-8861-03C4A7EDE93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C8E445A-E81F-4609-BA47-039DEC5122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19151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616970" y="0"/>
            <a:ext cx="757503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745E05-9377-4D87-988E-0987C11E5CD3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5EFCF0F-0452-4223-BA15-D5CE512F10D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10712F-E403-400C-B888-DA611362CD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34956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54810"/>
            <a:ext cx="5065776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FE7765-5BA1-4A88-8523-7DE045DC2796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1D91FFB-4251-420C-A3A3-D834C4B0256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AE053E3-F892-433F-BA12-D18E984391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25058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54810"/>
            <a:ext cx="69677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058912" y="0"/>
            <a:ext cx="4132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7FE9A9-B640-4258-9315-83F73CB786EB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56CBE94-FA3B-4361-913C-5FAACEDA2A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F8210B8-13C8-410E-A534-486BF7694C6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15840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654810"/>
            <a:ext cx="7918704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51988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54BD1A4-314F-42D4-9719-425CF7D99B77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BACCC8-3D6E-4BE7-BB5A-86C30F7556E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EC47E1A-513E-4D62-B107-A3AC28341D2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00547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5481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C0E78AB-0416-453A-A3D2-4B5605917855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BB4A274-2F12-4303-BBF3-99798EE8C4B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9E44C16-1DB2-4490-A4D9-02D26D841C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48645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2D78F03-B498-4C96-AA7A-4021E9F8A45F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A675F01-0D12-4BED-943A-88F1AB6542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F9DAD0C-0F99-4860-A140-71C2B514F3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68716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F6C076D-152C-4E40-B74B-C9AE3BDF046D}"/>
              </a:ext>
            </a:extLst>
          </p:cNvPr>
          <p:cNvGrpSpPr/>
          <p:nvPr userDrawn="1"/>
        </p:nvGrpSpPr>
        <p:grpSpPr bwMode="ltGray">
          <a:xfrm>
            <a:off x="4472168" y="3039533"/>
            <a:ext cx="3247663" cy="778934"/>
            <a:chOff x="4472168" y="3039533"/>
            <a:chExt cx="3247663" cy="77893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BF66F77-8FAF-4CDF-84C2-F335612C084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4472168" y="3039533"/>
              <a:ext cx="544332" cy="5207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F09A4C3-46FB-485C-AD00-6AA3F1DACE1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4785782" y="3363383"/>
              <a:ext cx="2934049" cy="4550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7080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9">
            <a:extLst>
              <a:ext uri="{FF2B5EF4-FFF2-40B4-BE49-F238E27FC236}">
                <a16:creationId xmlns:a16="http://schemas.microsoft.com/office/drawing/2014/main" id="{E90165FB-04C1-4375-8206-7501C42B9DEE}"/>
              </a:ext>
            </a:extLst>
          </p:cNvPr>
          <p:cNvSpPr>
            <a:spLocks/>
          </p:cNvSpPr>
          <p:nvPr userDrawn="1"/>
        </p:nvSpPr>
        <p:spPr bwMode="auto">
          <a:xfrm>
            <a:off x="8940025" y="3606237"/>
            <a:ext cx="3251975" cy="3251764"/>
          </a:xfrm>
          <a:custGeom>
            <a:avLst/>
            <a:gdLst>
              <a:gd name="T0" fmla="*/ 0 w 6826"/>
              <a:gd name="T1" fmla="*/ 6827 h 6827"/>
              <a:gd name="T2" fmla="*/ 0 w 6826"/>
              <a:gd name="T3" fmla="*/ 6827 h 6827"/>
              <a:gd name="T4" fmla="*/ 6826 w 6826"/>
              <a:gd name="T5" fmla="*/ 6827 h 6827"/>
              <a:gd name="T6" fmla="*/ 6826 w 6826"/>
              <a:gd name="T7" fmla="*/ 0 h 6827"/>
              <a:gd name="T8" fmla="*/ 0 w 6826"/>
              <a:gd name="T9" fmla="*/ 6827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26" h="6827">
                <a:moveTo>
                  <a:pt x="0" y="6827"/>
                </a:moveTo>
                <a:lnTo>
                  <a:pt x="0" y="6827"/>
                </a:lnTo>
                <a:lnTo>
                  <a:pt x="6826" y="6827"/>
                </a:lnTo>
                <a:lnTo>
                  <a:pt x="6826" y="0"/>
                </a:lnTo>
                <a:cubicBezTo>
                  <a:pt x="3056" y="0"/>
                  <a:pt x="0" y="3056"/>
                  <a:pt x="0" y="6827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DC96B47C-8B05-4C5C-AF5D-E289556EA30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7822480" y="1720800"/>
            <a:ext cx="3414822" cy="3415026"/>
          </a:xfrm>
          <a:custGeom>
            <a:avLst/>
            <a:gdLst>
              <a:gd name="T0" fmla="*/ 3585 w 7170"/>
              <a:gd name="T1" fmla="*/ 7170 h 7170"/>
              <a:gd name="T2" fmla="*/ 3585 w 7170"/>
              <a:gd name="T3" fmla="*/ 7170 h 7170"/>
              <a:gd name="T4" fmla="*/ 7170 w 7170"/>
              <a:gd name="T5" fmla="*/ 3585 h 7170"/>
              <a:gd name="T6" fmla="*/ 3585 w 7170"/>
              <a:gd name="T7" fmla="*/ 0 h 7170"/>
              <a:gd name="T8" fmla="*/ 0 w 7170"/>
              <a:gd name="T9" fmla="*/ 3585 h 7170"/>
              <a:gd name="T10" fmla="*/ 3585 w 7170"/>
              <a:gd name="T11" fmla="*/ 7170 h 7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170" h="7170">
                <a:moveTo>
                  <a:pt x="3585" y="7170"/>
                </a:moveTo>
                <a:lnTo>
                  <a:pt x="3585" y="7170"/>
                </a:lnTo>
                <a:cubicBezTo>
                  <a:pt x="5565" y="7170"/>
                  <a:pt x="7170" y="5565"/>
                  <a:pt x="7170" y="3585"/>
                </a:cubicBezTo>
                <a:cubicBezTo>
                  <a:pt x="7170" y="1604"/>
                  <a:pt x="5565" y="0"/>
                  <a:pt x="3585" y="0"/>
                </a:cubicBezTo>
                <a:cubicBezTo>
                  <a:pt x="1605" y="0"/>
                  <a:pt x="0" y="1604"/>
                  <a:pt x="0" y="3585"/>
                </a:cubicBezTo>
                <a:cubicBezTo>
                  <a:pt x="0" y="5565"/>
                  <a:pt x="1605" y="7170"/>
                  <a:pt x="3585" y="7170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DEB64AD-1E50-4B26-9EE9-AE8C9DC6EEB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7177297" cy="6858000"/>
          </a:xfrm>
          <a:custGeom>
            <a:avLst/>
            <a:gdLst>
              <a:gd name="T0" fmla="*/ 0 w 15066"/>
              <a:gd name="T1" fmla="*/ 0 h 14399"/>
              <a:gd name="T2" fmla="*/ 0 w 15066"/>
              <a:gd name="T3" fmla="*/ 0 h 14399"/>
              <a:gd name="T4" fmla="*/ 0 w 15066"/>
              <a:gd name="T5" fmla="*/ 14399 h 14399"/>
              <a:gd name="T6" fmla="*/ 12667 w 15066"/>
              <a:gd name="T7" fmla="*/ 14399 h 14399"/>
              <a:gd name="T8" fmla="*/ 15066 w 15066"/>
              <a:gd name="T9" fmla="*/ 7199 h 14399"/>
              <a:gd name="T10" fmla="*/ 12667 w 15066"/>
              <a:gd name="T11" fmla="*/ 0 h 14399"/>
              <a:gd name="T12" fmla="*/ 0 w 15066"/>
              <a:gd name="T13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066" h="14399">
                <a:moveTo>
                  <a:pt x="0" y="0"/>
                </a:moveTo>
                <a:lnTo>
                  <a:pt x="0" y="0"/>
                </a:lnTo>
                <a:lnTo>
                  <a:pt x="0" y="14399"/>
                </a:lnTo>
                <a:lnTo>
                  <a:pt x="12667" y="14399"/>
                </a:lnTo>
                <a:cubicBezTo>
                  <a:pt x="14173" y="12393"/>
                  <a:pt x="15066" y="9900"/>
                  <a:pt x="15066" y="7199"/>
                </a:cubicBezTo>
                <a:cubicBezTo>
                  <a:pt x="15066" y="4497"/>
                  <a:pt x="14173" y="2004"/>
                  <a:pt x="1266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9504A19-F80F-4F2E-A73D-8C2A5AB0925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07536" y="1636220"/>
            <a:ext cx="5760375" cy="470898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E679EA5D-8F77-4EF1-8516-CD7DB36CC078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07536" y="2262338"/>
            <a:ext cx="6120398" cy="40504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accent2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C918D9-300D-42CB-A0E3-5931A6417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35" y="3255427"/>
            <a:ext cx="6120000" cy="347146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765B404E-4E4D-4D8B-90B1-34910269F10A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2CE6B25F-1769-4955-B15E-089D5F917EF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4457ACA2-54D1-4DD3-AD80-CB427C855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6EA0EEDA-9AC8-487F-B0C5-1458B9AC87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524D528E-44C6-473A-997C-62B74824A3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7F0A46A4-158B-4205-9146-136F643D7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37A44ED6-C173-4B8A-8CD6-6A8F675E80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B3195C63-8017-43AB-B8F9-DEC7425CF3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8C944DF6-0D45-43E2-BE1C-41BE610FD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04D56E02-0107-4F81-9933-8542DA2733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73B20CD-7599-49F6-802B-FDD475877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BD19BBBB-D78E-444C-8EA7-57DF4DF0A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BE10C687-BF6F-46BA-B7C6-5F33EB36B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329712A6-5156-4E44-B7E6-4782E93AB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FD6D06B7-9CB9-4FDE-9E38-1590FB939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28D758E3-85D0-4BB9-90AF-5B41AEDD5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E5A8D75B-58AB-4535-89EE-FAC5889CA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30CA40B7-41D8-4604-9DDB-E233710282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8A4D4B73-6317-4E8B-B43A-5C243F22F5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C3B2F001-A285-4A61-863F-F4A9796463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72C85696-21F1-4864-89A5-226FBB687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2F7CCAB7-7076-49C8-8D7B-872B6D4F3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1D8A71F7-BCA6-489D-9747-1E3E6F4B1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65CB28CE-705C-4005-A11D-B84975C93B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3119D48E-72E3-485A-A0D9-C41714BB3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965127EB-3171-4BB4-B3AD-1653553D6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4966240E-65AC-4B0E-8B58-B415CD5CE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C55C2028-DA22-40AD-8763-7188DD857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18B5ABE5-0535-4C5D-BD0A-CCFB71741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612F9522-0BF2-4E1F-B98A-AE893F216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07F4A430-A403-41C7-A349-01C807C869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914FA197-F64F-4925-8024-CA3625E9E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14269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 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1152000"/>
            <a:ext cx="5472000" cy="5040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9E47D86-FD0D-44D0-9B7F-9EDEBD11F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7867C73D-EE16-41D1-B7CE-A35C765E3B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1152525"/>
            <a:ext cx="5472113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915521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icture Placeholder 71">
            <a:extLst>
              <a:ext uri="{FF2B5EF4-FFF2-40B4-BE49-F238E27FC236}">
                <a16:creationId xmlns:a16="http://schemas.microsoft.com/office/drawing/2014/main" id="{1432CB16-BFA2-41C6-854A-D4AA392444DC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034437" y="0"/>
            <a:ext cx="6157563" cy="6858000"/>
          </a:xfrm>
          <a:custGeom>
            <a:avLst/>
            <a:gdLst>
              <a:gd name="connsiteX0" fmla="*/ 0 w 6157563"/>
              <a:gd name="connsiteY0" fmla="*/ 0 h 6858000"/>
              <a:gd name="connsiteX1" fmla="*/ 6157563 w 6157563"/>
              <a:gd name="connsiteY1" fmla="*/ 0 h 6858000"/>
              <a:gd name="connsiteX2" fmla="*/ 6157563 w 6157563"/>
              <a:gd name="connsiteY2" fmla="*/ 6858000 h 6858000"/>
              <a:gd name="connsiteX3" fmla="*/ 0 w 6157563"/>
              <a:gd name="connsiteY3" fmla="*/ 6858000 h 6858000"/>
              <a:gd name="connsiteX4" fmla="*/ 1142860 w 6157563"/>
              <a:gd name="connsiteY4" fmla="*/ 3428762 h 6858000"/>
              <a:gd name="connsiteX5" fmla="*/ 0 w 615756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7563" h="6858000">
                <a:moveTo>
                  <a:pt x="0" y="0"/>
                </a:moveTo>
                <a:lnTo>
                  <a:pt x="6157563" y="0"/>
                </a:lnTo>
                <a:lnTo>
                  <a:pt x="6157563" y="6858000"/>
                </a:lnTo>
                <a:lnTo>
                  <a:pt x="0" y="6858000"/>
                </a:lnTo>
                <a:cubicBezTo>
                  <a:pt x="717444" y="5902576"/>
                  <a:pt x="1142860" y="4715203"/>
                  <a:pt x="1142860" y="3428762"/>
                </a:cubicBezTo>
                <a:cubicBezTo>
                  <a:pt x="1142860" y="2141845"/>
                  <a:pt x="717444" y="954471"/>
                  <a:pt x="0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9504A19-F80F-4F2E-A73D-8C2A5AB092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7536" y="2309532"/>
            <a:ext cx="6120398" cy="581698"/>
          </a:xfrm>
        </p:spPr>
        <p:txBody>
          <a:bodyPr anchor="b" anchorCtr="0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E679EA5D-8F77-4EF1-8516-CD7DB36CC07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7536" y="2872189"/>
            <a:ext cx="6120398" cy="60753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2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2F5B2AB-4BA2-41E0-B318-DC5B92241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535" y="3780000"/>
            <a:ext cx="6120000" cy="347146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Add date</a:t>
            </a:r>
          </a:p>
        </p:txBody>
      </p:sp>
    </p:spTree>
    <p:extLst>
      <p:ext uri="{BB962C8B-B14F-4D97-AF65-F5344CB8AC3E}">
        <p14:creationId xmlns:p14="http://schemas.microsoft.com/office/powerpoint/2010/main" val="281462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99979"/>
            <a:ext cx="11176927" cy="47504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603611B-BA5D-43B7-AD40-C523899FA7E3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35ED7F73-CB93-4371-AF70-BC077658C6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D261683B-592A-45E6-B538-92066C4240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B52807C0-569F-4329-98A8-DA03F3B6BE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396254CF-4F85-4E2C-9A83-620B1FFE06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8F762720-0348-44A0-A4AE-4B71B51CAE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907EE57F-5F27-4500-A744-9F30239919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DBA95264-D30F-4AD9-9E77-E2323CE0E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9EFF14B-0172-44A7-8602-3B6816B0D5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FD9F065D-6216-4A17-B2D3-AC29A6F3D2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36B31B2D-62A5-46D9-BAA6-31CFCE837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7B0692E3-CC2F-46FF-A59E-2892554276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EADA962F-1F42-4AFF-B614-BC5FBD4E1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593A524F-F535-44A6-A9F5-564D77AD7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5E715330-A451-4AB6-80E1-B410A135C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98D053F1-5BD3-4358-A749-4CD5B1B0B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EE4A8260-AA14-4B2A-B40D-8DF73E5033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B878E1F2-E423-47DF-9313-0D6269077D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0A6C7A95-A480-460C-B883-1855CB7F1F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CD502EEA-134F-47B4-A55E-C797049A0A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5FC7BF8E-72AB-419F-8349-BC4BDC430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777BD08D-D08A-40FB-882C-4D4EAFAA46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EB0BC1A9-993F-49A2-B48B-78FAF3B96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F2F6FFCF-BC58-4B1B-A518-F80266E67F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8F0C2449-B387-4AE8-B230-98CF903A2D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4DA59081-7370-42BB-B432-230F8446E1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8FE80E74-C977-41AF-BBC2-50FF05C93B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6B00A78C-EBFE-4615-8AD2-D38FA8F92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7BFEA3DD-F3F9-4B15-9E08-1F690FB3FC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55035685-DED5-4153-B3D7-E4FEFB869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6D88905B-B9F3-4B61-A96E-A10696431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1F56B8CD-6386-4E68-AA78-A5DD47009E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63717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713421"/>
            <a:ext cx="11176927" cy="4636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42653811-34A2-4FAE-ADB4-A57F2689CE98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9E6945B5-BD7A-4105-B138-1DA5D1F979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E2DFD2D8-EE04-4B12-B9F1-3FE5D9F24F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A445AB73-491A-463E-9C9F-498F43027B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EC623FB5-F607-4322-9DE7-19B82AC11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25799FB-D8AF-4C0E-BD1A-0B954CD8AE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ADD37D38-D316-4B99-8CC4-72FF22494B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2839B97F-B811-469F-B75C-60EE8B4B4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4DCA4559-39E2-4896-8C9C-0E28FEF56C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D5A6B766-538B-4E6C-8E8D-29C31BF623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7E87E73B-CBDC-400C-8A8B-84529B7B4C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B4A50E1-EF49-40A6-980F-86E9A54B9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DF2DD068-16D2-4B09-ADBD-1272E2F931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1E209815-999D-4F70-B39B-B8065C93F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C5C7C0E8-22D7-44D5-8F20-259A6DE75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C7B0714-1760-4193-988F-48969F1DFC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5605EBD4-F4D5-415F-B336-1A4D805484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A8A143DA-A17E-460B-B0FA-277F0A73E7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A325E9FD-EB0F-4791-924B-BBD2605F9E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4A007AA3-B158-4957-8F04-A2F138EFA0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5809E2CB-1AB5-4650-B2B8-85F941E8E0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DCB93FE2-24D3-4F63-867F-25D07AFFDB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3131AA4E-0BF9-41F1-86C7-55C30E51BA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29551467-DBEE-4EAD-B194-33BA4A9035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871398A4-3B9B-46EE-8BD0-8DF00A7F8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500EDA21-6088-4E54-8415-3CCA0B6166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9D6282D2-765C-4B86-AB3E-9E6065E9C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BF8378FC-5C5B-4E99-9CEF-D86C307F7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22EDBF7E-A4FD-416B-954D-1029E8432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977402C9-AFE0-4C55-96EE-77E4260F96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C5736AD1-7F32-4915-977A-436749D4E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E5CE9315-3267-498B-A1B4-26E0DA688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85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837D60E4-0D99-47DE-873F-DDC11889235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25799" y="-2242800"/>
            <a:ext cx="7873712" cy="78732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6" y="507600"/>
            <a:ext cx="5310346" cy="659048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933903"/>
            <a:ext cx="5310346" cy="441649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1287035"/>
            <a:ext cx="5310346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19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0B4AFDE7-0BB0-4B39-B965-5BFC1DF02EAC}"/>
              </a:ext>
            </a:extLst>
          </p:cNvPr>
          <p:cNvSpPr>
            <a:spLocks noChangeAspect="1"/>
          </p:cNvSpPr>
          <p:nvPr userDrawn="1"/>
        </p:nvSpPr>
        <p:spPr>
          <a:xfrm>
            <a:off x="5654445" y="-1260000"/>
            <a:ext cx="4280679" cy="4280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837D60E4-0D99-47DE-873F-DDC11889235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37032" y="1447200"/>
            <a:ext cx="7632497" cy="7632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2007476"/>
            <a:ext cx="5310346" cy="434292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E0CAF259-2A5B-4EC4-AE96-D1EA9AC148BB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53CD9AE7-6DC0-444E-9CFA-5565B1C7B5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68486E75-6A8D-426D-8A6B-E7BA2EE2B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AD9AAD07-5AC9-44E2-BA6D-07053D455E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C98DAF8A-A688-46B2-AFAC-09E7D23004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D968AA3D-F945-4831-B7C1-6DA4A6EC2A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D78E6266-C5C8-4A9D-BEAE-2F20591029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A8158F7B-7B35-416A-BF68-263C4465A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783755F2-C383-45DB-B2D7-D147631096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93B0527-44C1-4B50-B8A1-3AB33AACDD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E449CA9-CF86-4B9E-B898-1030403F32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BE6AD1AF-F50C-4D3B-83AC-EB889FC949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946021F5-8ABD-462F-AE35-720F696C7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C0D52719-FC1F-4232-8BB1-9CCADE89F2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CC64B81B-C53D-4967-9FF3-F45E41767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A03D4642-4A1C-4C8A-9BE6-3A4BBED70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67C2657E-4EE8-4F97-9CAD-255EB7EE82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8BFDCD02-CAE7-4C43-A5A6-72D2F52526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076BB111-7C8E-4533-9F17-5BF687E20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78551EEF-0B06-49DA-B564-5E89C4F4C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0F54507D-0250-48BF-BD38-5A332558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970C7A7B-6757-4262-955F-436A3724D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E0A25299-CF19-43EC-9998-16DA710288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84E2D2C1-C7E4-4A6B-99A7-A1BFEDD41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87CAFAC9-9806-4330-B219-8C80F620B5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1647C5ED-195D-4E22-B8D1-AB23B1FC3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7A0A593B-5845-473D-A635-4C5AD2254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39ED4B61-8DD4-46D2-8E69-26D4DCE073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77A4D665-26FC-40F0-9E99-D8A7433BCA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CB3F514F-F4FC-4BB0-8017-35D53B24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DEF6CF2F-683D-49E7-B570-43D01AE8B7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6124C8C8-7DA0-421C-BCFA-989D12A0D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6" name="Title 1"/>
          <p:cNvSpPr>
            <a:spLocks noGrp="1"/>
          </p:cNvSpPr>
          <p:nvPr>
            <p:ph type="title" hasCustomPrompt="1"/>
          </p:nvPr>
        </p:nvSpPr>
        <p:spPr>
          <a:xfrm>
            <a:off x="507536" y="507600"/>
            <a:ext cx="5310346" cy="78517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7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1394482"/>
            <a:ext cx="5310346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978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18165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BE1830F6-A944-44CD-8002-3B1E362BCE1B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">
            <a:extLst>
              <a:ext uri="{FF2B5EF4-FFF2-40B4-BE49-F238E27FC236}">
                <a16:creationId xmlns:a16="http://schemas.microsoft.com/office/drawing/2014/main" id="{80EB315D-6D56-4249-8B47-323A264FF37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0867D5BE-650B-4955-90EF-5D1833D934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1A68D467-CE13-4A2F-98F1-12DB14ABB5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1D36A810-3C30-4876-96DB-6C4455FA2D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43EE5094-BD56-4499-BB47-4A995F7BD5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0AA4F4AD-FF6C-428F-B984-FF46891140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A95150E4-93A6-4340-A3A4-A26D6741C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C3BB8C21-86F5-4ED8-A7FD-EE51E9888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3846D477-BBA0-413A-A1A7-3FA7D8C85B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29DFFA3B-F344-4301-8606-DEA934C3CE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ED0B9708-B602-4B43-B944-22878CF9EE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9B80C80F-FB6A-47BC-8B7E-E97D23B6BA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59FD4413-58DE-44A7-93D5-059045D26F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637B5E6F-1772-47BD-9DB5-9C0A70C29E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C4DBC770-120A-4518-B98B-2DD1F496AB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AAD72FAC-9440-4D13-9DF6-D6F90D078B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07A5B24B-B82C-4D94-B9C6-B0270506E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B5A1DB81-5BE4-475F-8FB0-BD35CDE0AE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66514A7E-0A94-4656-A607-29D5EA02B3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2050D3B7-BAD7-4E8C-91FC-67172FAA9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D835E85F-E94A-44E5-98E5-8E48DF0FBD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D9703265-689E-4EDB-9081-B1CB49966D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D731A6DF-9695-4D2C-8500-828CF32C3D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C2D380D7-C177-46C0-81BE-62448ACBAF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85482DBC-923A-440B-8667-8B6AC3470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8AE0AC6E-8802-414D-8F4B-D7154C1E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378A1619-12CA-4E3A-BA38-E3C713B5E8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648290F9-CD88-4B0C-A0AF-425CFB5366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99672175-C511-4EC5-B57B-AFB3139FC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77DE6217-E8EE-4194-8ABA-558524CED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EAF4C62D-5212-48C0-AAFC-16261E830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5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2569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18165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F3D1BDBD-F00C-47E3-B014-B0723DB0594D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">
            <a:extLst>
              <a:ext uri="{FF2B5EF4-FFF2-40B4-BE49-F238E27FC236}">
                <a16:creationId xmlns:a16="http://schemas.microsoft.com/office/drawing/2014/main" id="{7F655B2C-68A7-418D-A66C-CD685FB21BB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0B65D536-702B-4EEB-8D99-0E6C6A0A6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3B756A9E-2DEE-4455-B512-85F8C97B89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9B4459D0-81CD-4E7B-90F1-E524870254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C8D9CB18-E9FC-4D12-8A4C-8A178A295B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19594DF1-E0FC-44EB-B55C-D64D8A2CF7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20D9D540-44DE-4E63-B398-5DA9D2778D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2D1369D7-239B-4842-A93D-E6B59ABC2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5829147-590F-4F46-AD38-09B2F66F25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C8A9528-5B31-43C9-9442-7316058C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76168ABF-BC3A-41F5-BBD0-1259FC41AA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084F3FE4-E7CE-47E6-88D6-65C243A38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9D87E9F6-04A3-482F-A4D6-F5A4E77ED3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F046A235-019B-4B15-9378-9C93F49148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F1F6A7E2-59FF-43B0-9D67-4F503F16B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1BE9FF40-B666-4530-97EE-E26188A34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BC48B2AA-E2F9-49F9-9A00-55BCEB8953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FEF6EE43-D838-46DE-BE53-69226173A7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B3BF68C0-AB73-48CE-AEF7-04F41CBF61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B975B46E-4BBB-4C63-B104-575A85A0A7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36320ABC-72CE-463C-8120-FDE37A988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8B9A47EF-E414-4AB9-A2AD-E1B6778D0A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721EAF00-A073-4D56-BFA5-459E92BA69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F1EFFB30-A01B-4F37-8651-CF99F95AE5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FAD9AE24-C4B9-4116-9A64-546F63C2AC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988428B1-2DB9-4515-A724-7F9388F1E8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D13446B7-11BF-4D12-9929-007774166C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14F76865-153C-4186-9826-622621BC56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11BBE630-A6DF-4E75-B32F-FA946058C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6CFED609-391F-4621-B82C-EF841C589B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BB1C99A7-DEE5-48AF-AA74-66CC3B5292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5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68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792800"/>
            <a:ext cx="3555231" cy="45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384" y="1792800"/>
            <a:ext cx="3555231" cy="45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Content Placeholder 38">
            <a:extLst>
              <a:ext uri="{FF2B5EF4-FFF2-40B4-BE49-F238E27FC236}">
                <a16:creationId xmlns:a16="http://schemas.microsoft.com/office/drawing/2014/main" id="{717E3AE8-5078-4C14-97B2-EB77170243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232" y="1792800"/>
            <a:ext cx="3555231" cy="45522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36FB8C96-DACD-4AAD-BCF8-539E824267BF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ACFDF490-D1FA-4B98-8B9B-255AA67F7C8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D6F036F1-BA99-4AAA-A3A1-1D1B271F9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AAF7CE4D-1948-4B8A-BA5C-CD8FED127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1866AA7D-BF6B-4A54-8415-93BC201407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B2BDCCA7-9B74-44BA-85C5-D8A79964B7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E70E8224-CE3A-4F26-AC00-C002696259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348DF8E9-B3D6-44B6-AD96-E61A93CDF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38CEE9D0-6FE6-40B5-8341-C9FFAD7EC4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A6CAEAC8-DF73-4B27-B4FF-25729C7C8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27648F18-5A7C-4887-BB85-16F1417CE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FA3A6F21-8328-42D9-874C-6EB8CD33B0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01BE85AB-3E16-4723-A696-40C84FF990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DD86DE5A-98B4-4753-AF09-33100E46D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FBFED2C6-6B37-450E-AD18-AA4D7CB88F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FE693968-6B03-4F38-8D89-BA1CB17CD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id="{0C28A863-264B-44FE-8FBD-6ECB5F8CC7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122B48D6-AAF4-4BC0-A95B-660CD86032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9A42C8E7-07F3-4FE3-803D-F21F7B0AE7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68A8B1CE-12DE-45D9-A870-1A94B5454E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3">
              <a:extLst>
                <a:ext uri="{FF2B5EF4-FFF2-40B4-BE49-F238E27FC236}">
                  <a16:creationId xmlns:a16="http://schemas.microsoft.com/office/drawing/2014/main" id="{E10C1B9D-ED37-4030-A5DA-984773D7F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4">
              <a:extLst>
                <a:ext uri="{FF2B5EF4-FFF2-40B4-BE49-F238E27FC236}">
                  <a16:creationId xmlns:a16="http://schemas.microsoft.com/office/drawing/2014/main" id="{947D2DA4-4FB1-46DF-8C85-4989ECC4B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E788104C-2A94-4D2D-B695-E065EBB04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6">
              <a:extLst>
                <a:ext uri="{FF2B5EF4-FFF2-40B4-BE49-F238E27FC236}">
                  <a16:creationId xmlns:a16="http://schemas.microsoft.com/office/drawing/2014/main" id="{1A00B446-C4FD-4772-9142-B6CA7712D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7">
              <a:extLst>
                <a:ext uri="{FF2B5EF4-FFF2-40B4-BE49-F238E27FC236}">
                  <a16:creationId xmlns:a16="http://schemas.microsoft.com/office/drawing/2014/main" id="{5D656897-F900-4D7F-828E-9BF9D00C4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8">
              <a:extLst>
                <a:ext uri="{FF2B5EF4-FFF2-40B4-BE49-F238E27FC236}">
                  <a16:creationId xmlns:a16="http://schemas.microsoft.com/office/drawing/2014/main" id="{D9A5D172-6E12-4382-B22F-380D0BAC5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7F0A756A-7CD4-49ED-A3E9-3D448C39D3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387C5081-5A37-4F02-805C-C264ECC0F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913482A3-DD74-474A-8A8A-EA1C09E2B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82D0352E-4EAF-408A-B4D9-1085AC415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8A9253F0-84FE-4E6D-BDBE-F6E97FAB7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4" name="Freeform 34">
              <a:extLst>
                <a:ext uri="{FF2B5EF4-FFF2-40B4-BE49-F238E27FC236}">
                  <a16:creationId xmlns:a16="http://schemas.microsoft.com/office/drawing/2014/main" id="{AFADA108-0A7F-4CA3-82B5-553296CEB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5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6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69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792800"/>
            <a:ext cx="3555231" cy="455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384" y="1792800"/>
            <a:ext cx="3555231" cy="455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Content Placeholder 38">
            <a:extLst>
              <a:ext uri="{FF2B5EF4-FFF2-40B4-BE49-F238E27FC236}">
                <a16:creationId xmlns:a16="http://schemas.microsoft.com/office/drawing/2014/main" id="{717E3AE8-5078-4C14-97B2-EB77170243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232" y="1792800"/>
            <a:ext cx="3555231" cy="45522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75073085-080E-4247-9634-F2E24FDB524E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C8A4CD95-AD81-4AA8-BE83-A9F510067D8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5195EBD0-99E1-4182-967B-1E62A1241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3DE0654A-A91D-4B61-84F4-FC6A8B38BB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C2C2F703-D196-44D2-A47A-A5EFF63F87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A1FE934F-6EBD-4D27-98CB-B3E11A4C20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93D00773-6ACA-4ADE-A839-EF5A94427A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5055B0D0-24A7-45C3-AEA7-638DAC2A4B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82882935-F5C4-4E22-B0AE-A6763ACE8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89E2F8E6-76F0-435A-A990-508076180F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D32EED83-9572-473F-9D44-E2C1CC1A8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3B23A134-3A91-421F-8454-3B343CA7B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B45EAA9E-8C1E-4240-BF56-392EBF41AD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616D9089-08B3-4EE1-9790-16027F39A5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C840C73B-A079-4A72-B375-550032E03F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F9BBF90F-FA23-448D-A5A6-A9ADCEABEC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id="{D56D13B0-DEBA-48A0-9580-D0EF228F4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D05AC842-3428-49A2-9567-973656420C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5F2A1077-93EB-458E-9E9D-E3E57DBA3A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0FA52FE0-62E3-4CBC-AC5D-1417724B43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3">
              <a:extLst>
                <a:ext uri="{FF2B5EF4-FFF2-40B4-BE49-F238E27FC236}">
                  <a16:creationId xmlns:a16="http://schemas.microsoft.com/office/drawing/2014/main" id="{5C49E982-90A2-4F2A-A118-7CC73DEE3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4">
              <a:extLst>
                <a:ext uri="{FF2B5EF4-FFF2-40B4-BE49-F238E27FC236}">
                  <a16:creationId xmlns:a16="http://schemas.microsoft.com/office/drawing/2014/main" id="{F1BA7C6B-0956-4C8B-9CB2-C291F833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A7CABB1B-2F88-48CC-919C-AE4C58DD4D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6">
              <a:extLst>
                <a:ext uri="{FF2B5EF4-FFF2-40B4-BE49-F238E27FC236}">
                  <a16:creationId xmlns:a16="http://schemas.microsoft.com/office/drawing/2014/main" id="{6F9E787A-C237-4562-8DBA-A62D2E61A1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7">
              <a:extLst>
                <a:ext uri="{FF2B5EF4-FFF2-40B4-BE49-F238E27FC236}">
                  <a16:creationId xmlns:a16="http://schemas.microsoft.com/office/drawing/2014/main" id="{B6093075-29FF-4B77-B74B-12C30F4FB9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8">
              <a:extLst>
                <a:ext uri="{FF2B5EF4-FFF2-40B4-BE49-F238E27FC236}">
                  <a16:creationId xmlns:a16="http://schemas.microsoft.com/office/drawing/2014/main" id="{FB037AC7-2AE4-4E93-AFBE-3D307C072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19592FE5-31E0-4E36-994C-3399E6EDA5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E8C80F97-7BFF-4EB7-B8F3-45F7D8A7AB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A840B8D0-E90B-4909-9D08-9C50B7A7A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D6822A7A-470F-4399-A66F-141A32EBF4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71BBBC99-BB54-4D9D-9212-42C00E1CD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4" name="Freeform 34">
              <a:extLst>
                <a:ext uri="{FF2B5EF4-FFF2-40B4-BE49-F238E27FC236}">
                  <a16:creationId xmlns:a16="http://schemas.microsoft.com/office/drawing/2014/main" id="{0EF8E705-CF88-4B18-9524-CFFFA586F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5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6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4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599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C834DA-6B3C-4CEC-9416-DED1EE410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AEB0CDC3-6E25-4D05-B90E-63496D7182F3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459F3EBB-45CA-4038-9A38-A3BE2B3BCA4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3CC77940-193E-4A00-87AC-6C9B7E8324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A9E01757-6FED-4CD8-A8B0-39587A37A9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D4B3DB6D-F440-44D0-B630-9AEBA31AB2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C2BC2325-1E12-46FF-8118-07938B9545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79C7C6A0-5E49-40FC-8182-35F033F73C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6782AF78-588A-4D13-846F-9225A94281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57D91898-6E70-4EEE-8CC2-FD873BA32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CBE5BC3E-5337-4C84-A758-937BAE4D96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E84DA27A-75DF-44A9-9D55-D5E59593D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id="{74EF9EBB-6ED8-4F5D-97C1-68FD82CC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DF22F4DB-8894-4CC5-BE3A-6E37817CF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D66394CF-E493-4176-8B41-BE6AEBBD72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64F518F3-890B-4E33-B978-E8649667E8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id="{8B54CE34-D0D5-44A3-8B5D-9AC1E97EC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51F685DC-DECA-4D1B-B179-1758B50C6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20">
              <a:extLst>
                <a:ext uri="{FF2B5EF4-FFF2-40B4-BE49-F238E27FC236}">
                  <a16:creationId xmlns:a16="http://schemas.microsoft.com/office/drawing/2014/main" id="{5DBA7629-CDE9-4C04-8A69-BFF47D8625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1">
              <a:extLst>
                <a:ext uri="{FF2B5EF4-FFF2-40B4-BE49-F238E27FC236}">
                  <a16:creationId xmlns:a16="http://schemas.microsoft.com/office/drawing/2014/main" id="{478670CC-3058-4A9D-91DD-2EDB6F7435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2">
              <a:extLst>
                <a:ext uri="{FF2B5EF4-FFF2-40B4-BE49-F238E27FC236}">
                  <a16:creationId xmlns:a16="http://schemas.microsoft.com/office/drawing/2014/main" id="{7D1E240F-3C4F-4806-A11F-843B11B47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3">
              <a:extLst>
                <a:ext uri="{FF2B5EF4-FFF2-40B4-BE49-F238E27FC236}">
                  <a16:creationId xmlns:a16="http://schemas.microsoft.com/office/drawing/2014/main" id="{306994D4-0686-4D98-BE99-55E31EA4B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4">
              <a:extLst>
                <a:ext uri="{FF2B5EF4-FFF2-40B4-BE49-F238E27FC236}">
                  <a16:creationId xmlns:a16="http://schemas.microsoft.com/office/drawing/2014/main" id="{A5E7EE05-0040-40D1-8F67-2D62E4EF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5">
              <a:extLst>
                <a:ext uri="{FF2B5EF4-FFF2-40B4-BE49-F238E27FC236}">
                  <a16:creationId xmlns:a16="http://schemas.microsoft.com/office/drawing/2014/main" id="{746296C3-29CC-42FF-841E-998609CC6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6">
              <a:extLst>
                <a:ext uri="{FF2B5EF4-FFF2-40B4-BE49-F238E27FC236}">
                  <a16:creationId xmlns:a16="http://schemas.microsoft.com/office/drawing/2014/main" id="{4621F1D1-02FC-4A9C-AAE4-951C38D42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7">
              <a:extLst>
                <a:ext uri="{FF2B5EF4-FFF2-40B4-BE49-F238E27FC236}">
                  <a16:creationId xmlns:a16="http://schemas.microsoft.com/office/drawing/2014/main" id="{9395DBE8-12ED-4F5A-8C45-9D2817EFF7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8">
              <a:extLst>
                <a:ext uri="{FF2B5EF4-FFF2-40B4-BE49-F238E27FC236}">
                  <a16:creationId xmlns:a16="http://schemas.microsoft.com/office/drawing/2014/main" id="{A95AC96B-E830-4C74-98CC-142DFAF1D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9">
              <a:extLst>
                <a:ext uri="{FF2B5EF4-FFF2-40B4-BE49-F238E27FC236}">
                  <a16:creationId xmlns:a16="http://schemas.microsoft.com/office/drawing/2014/main" id="{C8114DD1-24FD-4C3F-8D9D-93D4E98A7B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30">
              <a:extLst>
                <a:ext uri="{FF2B5EF4-FFF2-40B4-BE49-F238E27FC236}">
                  <a16:creationId xmlns:a16="http://schemas.microsoft.com/office/drawing/2014/main" id="{6B61E677-FF44-49D5-80E9-3F6A38CE3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1">
              <a:extLst>
                <a:ext uri="{FF2B5EF4-FFF2-40B4-BE49-F238E27FC236}">
                  <a16:creationId xmlns:a16="http://schemas.microsoft.com/office/drawing/2014/main" id="{C7133600-04FB-490C-B01B-88B92B2A5B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2">
              <a:extLst>
                <a:ext uri="{FF2B5EF4-FFF2-40B4-BE49-F238E27FC236}">
                  <a16:creationId xmlns:a16="http://schemas.microsoft.com/office/drawing/2014/main" id="{56119EDC-A23D-4660-A9A8-DA43DB0A32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3">
              <a:extLst>
                <a:ext uri="{FF2B5EF4-FFF2-40B4-BE49-F238E27FC236}">
                  <a16:creationId xmlns:a16="http://schemas.microsoft.com/office/drawing/2014/main" id="{861CAE2F-DA0B-4F7E-819B-612633793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4">
              <a:extLst>
                <a:ext uri="{FF2B5EF4-FFF2-40B4-BE49-F238E27FC236}">
                  <a16:creationId xmlns:a16="http://schemas.microsoft.com/office/drawing/2014/main" id="{2BC2C69E-805F-4359-99C6-F29A869D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147797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 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3600000" cy="503925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6A38E24-EB1C-472F-B631-5DF32F9C4C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01550" y="1152000"/>
            <a:ext cx="3600450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5B4A252E-78C9-4F76-98A4-A4B580AD0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71550" y="1152000"/>
            <a:ext cx="3600450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543880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703" y="5889840"/>
            <a:ext cx="53942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43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7837" y="5891595"/>
            <a:ext cx="53942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93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7442" y="5891595"/>
            <a:ext cx="540000" cy="540000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138857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681" y="5891980"/>
            <a:ext cx="539429" cy="540000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400920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53103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AC84E252-39C3-4F6B-9F2C-CC2D71D13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5D35E67-7385-46E7-B3A7-DF6767DB3522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98F03089-EF6D-4E0F-A99D-C9DE8CC272B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63DDAEB9-5766-4290-8B1B-41B223074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BBA1A004-24EB-4F1E-BFD4-29B3A864EC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81BE9A7F-8B08-4D60-983C-EBF5237151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554EAAF-5310-4886-889A-3E4AC5D4C1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3B247DF3-D01C-4C58-86FE-1BCE6EFD4C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7676AA68-2B26-4AB0-8A36-A8FC0A8D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EEA69845-D9C4-40D1-AFA5-5A1EEDC92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8CD94A60-6AD0-4F73-891E-B21BCF185E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56B1BA35-B282-4445-8673-4C34359B4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4D771336-2932-4AE2-8B5F-6F4646AED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166B0A41-8A62-4200-9B3E-CFE3D21D2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8F686DE4-8208-44BA-8C4F-5E508212A5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2B8BBF60-7010-490B-A112-61CCEE12DB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933B34E0-0190-4403-AB89-D9C6B154E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C0DFCD7A-9C3B-4816-9168-C65E63D8F8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489E5883-AB80-4D8B-803E-1DFC94CC01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CF70AA3F-B3CA-48B7-9EC9-529739328F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052FE9F9-7CD3-4336-B6CF-8109D441EC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A6B2B870-36AD-429E-A88E-5ACE1B4FE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6795AE38-0819-495A-974A-A116C309EE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491B96FE-D85A-42B1-8EDD-5BD3C4AD68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C03417A9-9F35-44E6-A10B-FEA9AB77B0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E2D89C05-EDAD-4918-9209-6CFBA5708B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A28F8BEB-5177-4CFD-94BF-DD33FE2477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C2B7A11A-09DE-439D-A6AD-30DF922B5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D8B44C8D-F186-49EC-8335-6AB7D22D3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E1549FFC-F9C3-4AE6-BE4E-F63D3F55F1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045D4C48-007B-43FD-B4C0-D5EE400379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0B058D23-DC79-44C0-97AF-45D2B8E1EA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B39E2F86-C698-4ADF-BE67-4D2ADE06AD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84272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3">
            <a:extLst>
              <a:ext uri="{FF2B5EF4-FFF2-40B4-BE49-F238E27FC236}">
                <a16:creationId xmlns:a16="http://schemas.microsoft.com/office/drawing/2014/main" id="{56036660-0BE1-4F91-B7B8-32AAA2761C29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810848" y="3751200"/>
            <a:ext cx="5679370" cy="5679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0A8BF4F1-FFC7-4FFF-BB76-E153A209A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39347-1E1B-44A1-8B67-A0F11AAF8508}" type="datetime1">
              <a:rPr lang="en-GB" smtClean="0"/>
              <a:t>23/12/2021</a:t>
            </a:fld>
            <a:endParaRPr lang="en-GB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1F06293E-86E6-4FCA-8559-E895633C6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872032BF-9969-45A1-8479-6BBCB999B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1CA9A68A-3A7D-4351-A637-CF6C35F0A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6" y="2591731"/>
            <a:ext cx="5940387" cy="387798"/>
          </a:xfrm>
        </p:spPr>
        <p:txBody>
          <a:bodyPr anchor="ctr" anchorCtr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Picture Placeholder 43">
            <a:extLst>
              <a:ext uri="{FF2B5EF4-FFF2-40B4-BE49-F238E27FC236}">
                <a16:creationId xmlns:a16="http://schemas.microsoft.com/office/drawing/2014/main" id="{56269153-1917-48DD-86AD-44F0858E44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381416" y="-2718000"/>
            <a:ext cx="6966453" cy="6966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2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D6515BFE-A2D2-4E56-8EA9-BC97BCEE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E68B0-6BBE-42B0-A9B6-779C36B17C4D}" type="datetime1">
              <a:rPr lang="en-GB" smtClean="0"/>
              <a:t>23/12/2021</a:t>
            </a:fld>
            <a:endParaRPr lang="en-GB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BD9CAC1C-6371-4ACB-8F95-B78B10D05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A584F3D8-3E45-41B9-BBC6-13C75591C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A436C94-7C77-4435-B9B0-69568A0ED01B}"/>
              </a:ext>
            </a:extLst>
          </p:cNvPr>
          <p:cNvSpPr>
            <a:spLocks noChangeAspect="1"/>
          </p:cNvSpPr>
          <p:nvPr userDrawn="1"/>
        </p:nvSpPr>
        <p:spPr>
          <a:xfrm>
            <a:off x="8728768" y="822600"/>
            <a:ext cx="2642572" cy="2642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CD32A893-52E7-4CF9-B289-964B125F7950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10200"/>
            <a:ext cx="2819884" cy="5639400"/>
          </a:xfrm>
          <a:custGeom>
            <a:avLst/>
            <a:gdLst>
              <a:gd name="connsiteX0" fmla="*/ 0 w 5639400"/>
              <a:gd name="connsiteY0" fmla="*/ 0 h 11278800"/>
              <a:gd name="connsiteX1" fmla="*/ 5639400 w 5639400"/>
              <a:gd name="connsiteY1" fmla="*/ 5639400 h 11278800"/>
              <a:gd name="connsiteX2" fmla="*/ 0 w 5639400"/>
              <a:gd name="connsiteY2" fmla="*/ 11278800 h 112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9400" h="11278800">
                <a:moveTo>
                  <a:pt x="0" y="0"/>
                </a:moveTo>
                <a:cubicBezTo>
                  <a:pt x="3114555" y="0"/>
                  <a:pt x="5639400" y="2524845"/>
                  <a:pt x="5639400" y="5639400"/>
                </a:cubicBezTo>
                <a:cubicBezTo>
                  <a:pt x="5639400" y="8753955"/>
                  <a:pt x="3114555" y="11278800"/>
                  <a:pt x="0" y="1127880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1E183883-4ED5-472C-903C-57F41A2481E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235544" y="2223000"/>
            <a:ext cx="1720912" cy="2412000"/>
            <a:chOff x="4796" y="1958"/>
            <a:chExt cx="1322" cy="1847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3A2AF018-EA2E-492B-B85B-EB15A9C20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9" y="2059"/>
              <a:ext cx="252" cy="375"/>
            </a:xfrm>
            <a:custGeom>
              <a:avLst/>
              <a:gdLst>
                <a:gd name="T0" fmla="*/ 206 w 418"/>
                <a:gd name="T1" fmla="*/ 5 h 623"/>
                <a:gd name="T2" fmla="*/ 206 w 418"/>
                <a:gd name="T3" fmla="*/ 5 h 623"/>
                <a:gd name="T4" fmla="*/ 265 w 418"/>
                <a:gd name="T5" fmla="*/ 42 h 623"/>
                <a:gd name="T6" fmla="*/ 341 w 418"/>
                <a:gd name="T7" fmla="*/ 174 h 623"/>
                <a:gd name="T8" fmla="*/ 417 w 418"/>
                <a:gd name="T9" fmla="*/ 464 h 623"/>
                <a:gd name="T10" fmla="*/ 404 w 418"/>
                <a:gd name="T11" fmla="*/ 488 h 623"/>
                <a:gd name="T12" fmla="*/ 392 w 418"/>
                <a:gd name="T13" fmla="*/ 474 h 623"/>
                <a:gd name="T14" fmla="*/ 363 w 418"/>
                <a:gd name="T15" fmla="*/ 367 h 623"/>
                <a:gd name="T16" fmla="*/ 348 w 418"/>
                <a:gd name="T17" fmla="*/ 346 h 623"/>
                <a:gd name="T18" fmla="*/ 343 w 418"/>
                <a:gd name="T19" fmla="*/ 364 h 623"/>
                <a:gd name="T20" fmla="*/ 386 w 418"/>
                <a:gd name="T21" fmla="*/ 547 h 623"/>
                <a:gd name="T22" fmla="*/ 375 w 418"/>
                <a:gd name="T23" fmla="*/ 581 h 623"/>
                <a:gd name="T24" fmla="*/ 354 w 418"/>
                <a:gd name="T25" fmla="*/ 561 h 623"/>
                <a:gd name="T26" fmla="*/ 307 w 418"/>
                <a:gd name="T27" fmla="*/ 393 h 623"/>
                <a:gd name="T28" fmla="*/ 283 w 418"/>
                <a:gd name="T29" fmla="*/ 361 h 623"/>
                <a:gd name="T30" fmla="*/ 281 w 418"/>
                <a:gd name="T31" fmla="*/ 397 h 623"/>
                <a:gd name="T32" fmla="*/ 329 w 418"/>
                <a:gd name="T33" fmla="*/ 592 h 623"/>
                <a:gd name="T34" fmla="*/ 315 w 418"/>
                <a:gd name="T35" fmla="*/ 620 h 623"/>
                <a:gd name="T36" fmla="*/ 293 w 418"/>
                <a:gd name="T37" fmla="*/ 598 h 623"/>
                <a:gd name="T38" fmla="*/ 236 w 418"/>
                <a:gd name="T39" fmla="*/ 403 h 623"/>
                <a:gd name="T40" fmla="*/ 214 w 418"/>
                <a:gd name="T41" fmla="*/ 375 h 623"/>
                <a:gd name="T42" fmla="*/ 209 w 418"/>
                <a:gd name="T43" fmla="*/ 396 h 623"/>
                <a:gd name="T44" fmla="*/ 264 w 418"/>
                <a:gd name="T45" fmla="*/ 581 h 623"/>
                <a:gd name="T46" fmla="*/ 251 w 418"/>
                <a:gd name="T47" fmla="*/ 609 h 623"/>
                <a:gd name="T48" fmla="*/ 224 w 418"/>
                <a:gd name="T49" fmla="*/ 579 h 623"/>
                <a:gd name="T50" fmla="*/ 179 w 418"/>
                <a:gd name="T51" fmla="*/ 441 h 623"/>
                <a:gd name="T52" fmla="*/ 128 w 418"/>
                <a:gd name="T53" fmla="*/ 318 h 623"/>
                <a:gd name="T54" fmla="*/ 107 w 418"/>
                <a:gd name="T55" fmla="*/ 326 h 623"/>
                <a:gd name="T56" fmla="*/ 82 w 418"/>
                <a:gd name="T57" fmla="*/ 401 h 623"/>
                <a:gd name="T58" fmla="*/ 5 w 418"/>
                <a:gd name="T59" fmla="*/ 458 h 623"/>
                <a:gd name="T60" fmla="*/ 18 w 418"/>
                <a:gd name="T61" fmla="*/ 423 h 623"/>
                <a:gd name="T62" fmla="*/ 53 w 418"/>
                <a:gd name="T63" fmla="*/ 327 h 623"/>
                <a:gd name="T64" fmla="*/ 74 w 418"/>
                <a:gd name="T65" fmla="*/ 179 h 623"/>
                <a:gd name="T66" fmla="*/ 55 w 418"/>
                <a:gd name="T67" fmla="*/ 64 h 623"/>
                <a:gd name="T68" fmla="*/ 41 w 418"/>
                <a:gd name="T69" fmla="*/ 33 h 623"/>
                <a:gd name="T70" fmla="*/ 71 w 418"/>
                <a:gd name="T71" fmla="*/ 2 h 623"/>
                <a:gd name="T72" fmla="*/ 206 w 418"/>
                <a:gd name="T73" fmla="*/ 5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8" h="623">
                  <a:moveTo>
                    <a:pt x="206" y="5"/>
                  </a:moveTo>
                  <a:lnTo>
                    <a:pt x="206" y="5"/>
                  </a:lnTo>
                  <a:cubicBezTo>
                    <a:pt x="233" y="8"/>
                    <a:pt x="252" y="25"/>
                    <a:pt x="265" y="42"/>
                  </a:cubicBezTo>
                  <a:cubicBezTo>
                    <a:pt x="296" y="82"/>
                    <a:pt x="315" y="110"/>
                    <a:pt x="341" y="174"/>
                  </a:cubicBezTo>
                  <a:cubicBezTo>
                    <a:pt x="407" y="337"/>
                    <a:pt x="417" y="452"/>
                    <a:pt x="417" y="464"/>
                  </a:cubicBezTo>
                  <a:cubicBezTo>
                    <a:pt x="418" y="476"/>
                    <a:pt x="411" y="487"/>
                    <a:pt x="404" y="488"/>
                  </a:cubicBezTo>
                  <a:cubicBezTo>
                    <a:pt x="398" y="489"/>
                    <a:pt x="394" y="480"/>
                    <a:pt x="392" y="474"/>
                  </a:cubicBezTo>
                  <a:cubicBezTo>
                    <a:pt x="383" y="437"/>
                    <a:pt x="372" y="394"/>
                    <a:pt x="363" y="367"/>
                  </a:cubicBezTo>
                  <a:cubicBezTo>
                    <a:pt x="360" y="360"/>
                    <a:pt x="355" y="345"/>
                    <a:pt x="348" y="346"/>
                  </a:cubicBezTo>
                  <a:cubicBezTo>
                    <a:pt x="341" y="348"/>
                    <a:pt x="340" y="356"/>
                    <a:pt x="343" y="364"/>
                  </a:cubicBezTo>
                  <a:cubicBezTo>
                    <a:pt x="366" y="444"/>
                    <a:pt x="384" y="534"/>
                    <a:pt x="386" y="547"/>
                  </a:cubicBezTo>
                  <a:cubicBezTo>
                    <a:pt x="388" y="567"/>
                    <a:pt x="385" y="579"/>
                    <a:pt x="375" y="581"/>
                  </a:cubicBezTo>
                  <a:cubicBezTo>
                    <a:pt x="364" y="584"/>
                    <a:pt x="359" y="575"/>
                    <a:pt x="354" y="561"/>
                  </a:cubicBezTo>
                  <a:cubicBezTo>
                    <a:pt x="350" y="547"/>
                    <a:pt x="331" y="458"/>
                    <a:pt x="307" y="393"/>
                  </a:cubicBezTo>
                  <a:cubicBezTo>
                    <a:pt x="300" y="373"/>
                    <a:pt x="293" y="358"/>
                    <a:pt x="283" y="361"/>
                  </a:cubicBezTo>
                  <a:cubicBezTo>
                    <a:pt x="273" y="364"/>
                    <a:pt x="277" y="383"/>
                    <a:pt x="281" y="397"/>
                  </a:cubicBezTo>
                  <a:cubicBezTo>
                    <a:pt x="317" y="506"/>
                    <a:pt x="327" y="574"/>
                    <a:pt x="329" y="592"/>
                  </a:cubicBezTo>
                  <a:cubicBezTo>
                    <a:pt x="330" y="606"/>
                    <a:pt x="324" y="618"/>
                    <a:pt x="315" y="620"/>
                  </a:cubicBezTo>
                  <a:cubicBezTo>
                    <a:pt x="305" y="623"/>
                    <a:pt x="297" y="615"/>
                    <a:pt x="293" y="598"/>
                  </a:cubicBezTo>
                  <a:cubicBezTo>
                    <a:pt x="275" y="511"/>
                    <a:pt x="243" y="420"/>
                    <a:pt x="236" y="403"/>
                  </a:cubicBezTo>
                  <a:cubicBezTo>
                    <a:pt x="230" y="387"/>
                    <a:pt x="222" y="373"/>
                    <a:pt x="214" y="375"/>
                  </a:cubicBezTo>
                  <a:cubicBezTo>
                    <a:pt x="207" y="377"/>
                    <a:pt x="205" y="386"/>
                    <a:pt x="209" y="396"/>
                  </a:cubicBezTo>
                  <a:cubicBezTo>
                    <a:pt x="230" y="454"/>
                    <a:pt x="259" y="554"/>
                    <a:pt x="264" y="581"/>
                  </a:cubicBezTo>
                  <a:cubicBezTo>
                    <a:pt x="266" y="596"/>
                    <a:pt x="262" y="606"/>
                    <a:pt x="251" y="609"/>
                  </a:cubicBezTo>
                  <a:cubicBezTo>
                    <a:pt x="240" y="612"/>
                    <a:pt x="230" y="598"/>
                    <a:pt x="224" y="579"/>
                  </a:cubicBezTo>
                  <a:cubicBezTo>
                    <a:pt x="217" y="558"/>
                    <a:pt x="204" y="509"/>
                    <a:pt x="179" y="441"/>
                  </a:cubicBezTo>
                  <a:cubicBezTo>
                    <a:pt x="147" y="351"/>
                    <a:pt x="140" y="328"/>
                    <a:pt x="128" y="318"/>
                  </a:cubicBezTo>
                  <a:cubicBezTo>
                    <a:pt x="124" y="315"/>
                    <a:pt x="114" y="308"/>
                    <a:pt x="107" y="326"/>
                  </a:cubicBezTo>
                  <a:cubicBezTo>
                    <a:pt x="98" y="347"/>
                    <a:pt x="92" y="380"/>
                    <a:pt x="82" y="401"/>
                  </a:cubicBezTo>
                  <a:cubicBezTo>
                    <a:pt x="60" y="453"/>
                    <a:pt x="20" y="472"/>
                    <a:pt x="5" y="458"/>
                  </a:cubicBezTo>
                  <a:cubicBezTo>
                    <a:pt x="0" y="454"/>
                    <a:pt x="12" y="435"/>
                    <a:pt x="18" y="423"/>
                  </a:cubicBezTo>
                  <a:cubicBezTo>
                    <a:pt x="36" y="394"/>
                    <a:pt x="42" y="369"/>
                    <a:pt x="53" y="327"/>
                  </a:cubicBezTo>
                  <a:cubicBezTo>
                    <a:pt x="65" y="279"/>
                    <a:pt x="71" y="233"/>
                    <a:pt x="74" y="179"/>
                  </a:cubicBezTo>
                  <a:cubicBezTo>
                    <a:pt x="75" y="141"/>
                    <a:pt x="76" y="115"/>
                    <a:pt x="55" y="64"/>
                  </a:cubicBezTo>
                  <a:cubicBezTo>
                    <a:pt x="50" y="51"/>
                    <a:pt x="46" y="45"/>
                    <a:pt x="41" y="33"/>
                  </a:cubicBezTo>
                  <a:cubicBezTo>
                    <a:pt x="38" y="25"/>
                    <a:pt x="38" y="4"/>
                    <a:pt x="71" y="2"/>
                  </a:cubicBezTo>
                  <a:cubicBezTo>
                    <a:pt x="95" y="1"/>
                    <a:pt x="159" y="0"/>
                    <a:pt x="206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DE00065-0548-4481-9753-DC9A569F04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6" y="2336"/>
              <a:ext cx="345" cy="305"/>
            </a:xfrm>
            <a:custGeom>
              <a:avLst/>
              <a:gdLst>
                <a:gd name="T0" fmla="*/ 566 w 571"/>
                <a:gd name="T1" fmla="*/ 160 h 507"/>
                <a:gd name="T2" fmla="*/ 566 w 571"/>
                <a:gd name="T3" fmla="*/ 160 h 507"/>
                <a:gd name="T4" fmla="*/ 549 w 571"/>
                <a:gd name="T5" fmla="*/ 228 h 507"/>
                <a:gd name="T6" fmla="*/ 447 w 571"/>
                <a:gd name="T7" fmla="*/ 340 h 507"/>
                <a:gd name="T8" fmla="*/ 195 w 571"/>
                <a:gd name="T9" fmla="*/ 502 h 507"/>
                <a:gd name="T10" fmla="*/ 168 w 571"/>
                <a:gd name="T11" fmla="*/ 498 h 507"/>
                <a:gd name="T12" fmla="*/ 178 w 571"/>
                <a:gd name="T13" fmla="*/ 481 h 507"/>
                <a:gd name="T14" fmla="*/ 270 w 571"/>
                <a:gd name="T15" fmla="*/ 421 h 507"/>
                <a:gd name="T16" fmla="*/ 285 w 571"/>
                <a:gd name="T17" fmla="*/ 400 h 507"/>
                <a:gd name="T18" fmla="*/ 267 w 571"/>
                <a:gd name="T19" fmla="*/ 401 h 507"/>
                <a:gd name="T20" fmla="*/ 106 w 571"/>
                <a:gd name="T21" fmla="*/ 498 h 507"/>
                <a:gd name="T22" fmla="*/ 70 w 571"/>
                <a:gd name="T23" fmla="*/ 499 h 507"/>
                <a:gd name="T24" fmla="*/ 84 w 571"/>
                <a:gd name="T25" fmla="*/ 472 h 507"/>
                <a:gd name="T26" fmla="*/ 228 w 571"/>
                <a:gd name="T27" fmla="*/ 376 h 507"/>
                <a:gd name="T28" fmla="*/ 251 w 571"/>
                <a:gd name="T29" fmla="*/ 343 h 507"/>
                <a:gd name="T30" fmla="*/ 217 w 571"/>
                <a:gd name="T31" fmla="*/ 352 h 507"/>
                <a:gd name="T32" fmla="*/ 46 w 571"/>
                <a:gd name="T33" fmla="*/ 457 h 507"/>
                <a:gd name="T34" fmla="*/ 15 w 571"/>
                <a:gd name="T35" fmla="*/ 454 h 507"/>
                <a:gd name="T36" fmla="*/ 29 w 571"/>
                <a:gd name="T37" fmla="*/ 426 h 507"/>
                <a:gd name="T38" fmla="*/ 197 w 571"/>
                <a:gd name="T39" fmla="*/ 312 h 507"/>
                <a:gd name="T40" fmla="*/ 217 w 571"/>
                <a:gd name="T41" fmla="*/ 282 h 507"/>
                <a:gd name="T42" fmla="*/ 195 w 571"/>
                <a:gd name="T43" fmla="*/ 283 h 507"/>
                <a:gd name="T44" fmla="*/ 36 w 571"/>
                <a:gd name="T45" fmla="*/ 392 h 507"/>
                <a:gd name="T46" fmla="*/ 6 w 571"/>
                <a:gd name="T47" fmla="*/ 389 h 507"/>
                <a:gd name="T48" fmla="*/ 26 w 571"/>
                <a:gd name="T49" fmla="*/ 354 h 507"/>
                <a:gd name="T50" fmla="*/ 143 w 571"/>
                <a:gd name="T51" fmla="*/ 269 h 507"/>
                <a:gd name="T52" fmla="*/ 244 w 571"/>
                <a:gd name="T53" fmla="*/ 182 h 507"/>
                <a:gd name="T54" fmla="*/ 230 w 571"/>
                <a:gd name="T55" fmla="*/ 164 h 507"/>
                <a:gd name="T56" fmla="*/ 151 w 571"/>
                <a:gd name="T57" fmla="*/ 164 h 507"/>
                <a:gd name="T58" fmla="*/ 73 w 571"/>
                <a:gd name="T59" fmla="*/ 108 h 507"/>
                <a:gd name="T60" fmla="*/ 110 w 571"/>
                <a:gd name="T61" fmla="*/ 111 h 507"/>
                <a:gd name="T62" fmla="*/ 212 w 571"/>
                <a:gd name="T63" fmla="*/ 114 h 507"/>
                <a:gd name="T64" fmla="*/ 360 w 571"/>
                <a:gd name="T65" fmla="*/ 87 h 507"/>
                <a:gd name="T66" fmla="*/ 464 w 571"/>
                <a:gd name="T67" fmla="*/ 34 h 507"/>
                <a:gd name="T68" fmla="*/ 488 w 571"/>
                <a:gd name="T69" fmla="*/ 12 h 507"/>
                <a:gd name="T70" fmla="*/ 527 w 571"/>
                <a:gd name="T71" fmla="*/ 30 h 507"/>
                <a:gd name="T72" fmla="*/ 566 w 571"/>
                <a:gd name="T73" fmla="*/ 16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1" h="507">
                  <a:moveTo>
                    <a:pt x="566" y="160"/>
                  </a:moveTo>
                  <a:lnTo>
                    <a:pt x="566" y="160"/>
                  </a:lnTo>
                  <a:cubicBezTo>
                    <a:pt x="571" y="186"/>
                    <a:pt x="561" y="210"/>
                    <a:pt x="549" y="228"/>
                  </a:cubicBezTo>
                  <a:cubicBezTo>
                    <a:pt x="521" y="269"/>
                    <a:pt x="500" y="296"/>
                    <a:pt x="447" y="340"/>
                  </a:cubicBezTo>
                  <a:cubicBezTo>
                    <a:pt x="312" y="453"/>
                    <a:pt x="207" y="498"/>
                    <a:pt x="195" y="502"/>
                  </a:cubicBezTo>
                  <a:cubicBezTo>
                    <a:pt x="184" y="506"/>
                    <a:pt x="171" y="503"/>
                    <a:pt x="168" y="498"/>
                  </a:cubicBezTo>
                  <a:cubicBezTo>
                    <a:pt x="165" y="492"/>
                    <a:pt x="173" y="485"/>
                    <a:pt x="178" y="481"/>
                  </a:cubicBezTo>
                  <a:cubicBezTo>
                    <a:pt x="210" y="462"/>
                    <a:pt x="247" y="438"/>
                    <a:pt x="270" y="421"/>
                  </a:cubicBezTo>
                  <a:cubicBezTo>
                    <a:pt x="277" y="416"/>
                    <a:pt x="289" y="406"/>
                    <a:pt x="285" y="400"/>
                  </a:cubicBezTo>
                  <a:cubicBezTo>
                    <a:pt x="282" y="394"/>
                    <a:pt x="274" y="395"/>
                    <a:pt x="267" y="401"/>
                  </a:cubicBezTo>
                  <a:cubicBezTo>
                    <a:pt x="198" y="448"/>
                    <a:pt x="118" y="492"/>
                    <a:pt x="106" y="498"/>
                  </a:cubicBezTo>
                  <a:cubicBezTo>
                    <a:pt x="88" y="507"/>
                    <a:pt x="75" y="507"/>
                    <a:pt x="70" y="499"/>
                  </a:cubicBezTo>
                  <a:cubicBezTo>
                    <a:pt x="64" y="489"/>
                    <a:pt x="72" y="481"/>
                    <a:pt x="84" y="472"/>
                  </a:cubicBezTo>
                  <a:cubicBezTo>
                    <a:pt x="95" y="464"/>
                    <a:pt x="173" y="419"/>
                    <a:pt x="228" y="376"/>
                  </a:cubicBezTo>
                  <a:cubicBezTo>
                    <a:pt x="245" y="363"/>
                    <a:pt x="257" y="351"/>
                    <a:pt x="251" y="343"/>
                  </a:cubicBezTo>
                  <a:cubicBezTo>
                    <a:pt x="246" y="334"/>
                    <a:pt x="229" y="343"/>
                    <a:pt x="217" y="352"/>
                  </a:cubicBezTo>
                  <a:cubicBezTo>
                    <a:pt x="124" y="420"/>
                    <a:pt x="63" y="450"/>
                    <a:pt x="46" y="457"/>
                  </a:cubicBezTo>
                  <a:cubicBezTo>
                    <a:pt x="33" y="463"/>
                    <a:pt x="20" y="461"/>
                    <a:pt x="15" y="454"/>
                  </a:cubicBezTo>
                  <a:cubicBezTo>
                    <a:pt x="9" y="445"/>
                    <a:pt x="14" y="435"/>
                    <a:pt x="29" y="426"/>
                  </a:cubicBezTo>
                  <a:cubicBezTo>
                    <a:pt x="107" y="381"/>
                    <a:pt x="183" y="323"/>
                    <a:pt x="197" y="312"/>
                  </a:cubicBezTo>
                  <a:cubicBezTo>
                    <a:pt x="210" y="300"/>
                    <a:pt x="221" y="288"/>
                    <a:pt x="217" y="282"/>
                  </a:cubicBezTo>
                  <a:cubicBezTo>
                    <a:pt x="212" y="276"/>
                    <a:pt x="204" y="277"/>
                    <a:pt x="195" y="283"/>
                  </a:cubicBezTo>
                  <a:cubicBezTo>
                    <a:pt x="147" y="322"/>
                    <a:pt x="60" y="380"/>
                    <a:pt x="36" y="392"/>
                  </a:cubicBezTo>
                  <a:cubicBezTo>
                    <a:pt x="23" y="400"/>
                    <a:pt x="12" y="399"/>
                    <a:pt x="6" y="389"/>
                  </a:cubicBezTo>
                  <a:cubicBezTo>
                    <a:pt x="0" y="380"/>
                    <a:pt x="9" y="366"/>
                    <a:pt x="26" y="354"/>
                  </a:cubicBezTo>
                  <a:cubicBezTo>
                    <a:pt x="44" y="341"/>
                    <a:pt x="86" y="314"/>
                    <a:pt x="143" y="269"/>
                  </a:cubicBezTo>
                  <a:cubicBezTo>
                    <a:pt x="219" y="211"/>
                    <a:pt x="238" y="197"/>
                    <a:pt x="244" y="182"/>
                  </a:cubicBezTo>
                  <a:cubicBezTo>
                    <a:pt x="246" y="177"/>
                    <a:pt x="250" y="166"/>
                    <a:pt x="230" y="164"/>
                  </a:cubicBezTo>
                  <a:cubicBezTo>
                    <a:pt x="208" y="162"/>
                    <a:pt x="174" y="167"/>
                    <a:pt x="151" y="164"/>
                  </a:cubicBezTo>
                  <a:cubicBezTo>
                    <a:pt x="95" y="159"/>
                    <a:pt x="64" y="127"/>
                    <a:pt x="73" y="108"/>
                  </a:cubicBezTo>
                  <a:cubicBezTo>
                    <a:pt x="75" y="102"/>
                    <a:pt x="97" y="108"/>
                    <a:pt x="110" y="111"/>
                  </a:cubicBezTo>
                  <a:cubicBezTo>
                    <a:pt x="144" y="118"/>
                    <a:pt x="169" y="117"/>
                    <a:pt x="212" y="114"/>
                  </a:cubicBezTo>
                  <a:cubicBezTo>
                    <a:pt x="262" y="110"/>
                    <a:pt x="308" y="102"/>
                    <a:pt x="360" y="87"/>
                  </a:cubicBezTo>
                  <a:cubicBezTo>
                    <a:pt x="396" y="77"/>
                    <a:pt x="421" y="70"/>
                    <a:pt x="464" y="34"/>
                  </a:cubicBezTo>
                  <a:cubicBezTo>
                    <a:pt x="474" y="25"/>
                    <a:pt x="479" y="20"/>
                    <a:pt x="488" y="12"/>
                  </a:cubicBezTo>
                  <a:cubicBezTo>
                    <a:pt x="495" y="6"/>
                    <a:pt x="515" y="0"/>
                    <a:pt x="527" y="30"/>
                  </a:cubicBezTo>
                  <a:cubicBezTo>
                    <a:pt x="536" y="53"/>
                    <a:pt x="557" y="113"/>
                    <a:pt x="566" y="1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573072BA-8D1F-46EF-BE7D-94A6D3172C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2" y="2647"/>
              <a:ext cx="373" cy="301"/>
            </a:xfrm>
            <a:custGeom>
              <a:avLst/>
              <a:gdLst>
                <a:gd name="T0" fmla="*/ 482 w 618"/>
                <a:gd name="T1" fmla="*/ 487 h 501"/>
                <a:gd name="T2" fmla="*/ 482 w 618"/>
                <a:gd name="T3" fmla="*/ 487 h 501"/>
                <a:gd name="T4" fmla="*/ 412 w 618"/>
                <a:gd name="T5" fmla="*/ 492 h 501"/>
                <a:gd name="T6" fmla="*/ 273 w 618"/>
                <a:gd name="T7" fmla="*/ 430 h 501"/>
                <a:gd name="T8" fmla="*/ 41 w 618"/>
                <a:gd name="T9" fmla="*/ 240 h 501"/>
                <a:gd name="T10" fmla="*/ 37 w 618"/>
                <a:gd name="T11" fmla="*/ 213 h 501"/>
                <a:gd name="T12" fmla="*/ 56 w 618"/>
                <a:gd name="T13" fmla="*/ 217 h 501"/>
                <a:gd name="T14" fmla="*/ 142 w 618"/>
                <a:gd name="T15" fmla="*/ 286 h 501"/>
                <a:gd name="T16" fmla="*/ 167 w 618"/>
                <a:gd name="T17" fmla="*/ 295 h 501"/>
                <a:gd name="T18" fmla="*/ 160 w 618"/>
                <a:gd name="T19" fmla="*/ 277 h 501"/>
                <a:gd name="T20" fmla="*/ 18 w 618"/>
                <a:gd name="T21" fmla="*/ 154 h 501"/>
                <a:gd name="T22" fmla="*/ 6 w 618"/>
                <a:gd name="T23" fmla="*/ 121 h 501"/>
                <a:gd name="T24" fmla="*/ 35 w 618"/>
                <a:gd name="T25" fmla="*/ 125 h 501"/>
                <a:gd name="T26" fmla="*/ 172 w 618"/>
                <a:gd name="T27" fmla="*/ 233 h 501"/>
                <a:gd name="T28" fmla="*/ 210 w 618"/>
                <a:gd name="T29" fmla="*/ 245 h 501"/>
                <a:gd name="T30" fmla="*/ 191 w 618"/>
                <a:gd name="T31" fmla="*/ 215 h 501"/>
                <a:gd name="T32" fmla="*/ 38 w 618"/>
                <a:gd name="T33" fmla="*/ 85 h 501"/>
                <a:gd name="T34" fmla="*/ 32 w 618"/>
                <a:gd name="T35" fmla="*/ 54 h 501"/>
                <a:gd name="T36" fmla="*/ 63 w 618"/>
                <a:gd name="T37" fmla="*/ 59 h 501"/>
                <a:gd name="T38" fmla="*/ 223 w 618"/>
                <a:gd name="T39" fmla="*/ 183 h 501"/>
                <a:gd name="T40" fmla="*/ 257 w 618"/>
                <a:gd name="T41" fmla="*/ 193 h 501"/>
                <a:gd name="T42" fmla="*/ 250 w 618"/>
                <a:gd name="T43" fmla="*/ 173 h 501"/>
                <a:gd name="T44" fmla="*/ 97 w 618"/>
                <a:gd name="T45" fmla="*/ 55 h 501"/>
                <a:gd name="T46" fmla="*/ 90 w 618"/>
                <a:gd name="T47" fmla="*/ 26 h 501"/>
                <a:gd name="T48" fmla="*/ 130 w 618"/>
                <a:gd name="T49" fmla="*/ 33 h 501"/>
                <a:gd name="T50" fmla="*/ 247 w 618"/>
                <a:gd name="T51" fmla="*/ 119 h 501"/>
                <a:gd name="T52" fmla="*/ 361 w 618"/>
                <a:gd name="T53" fmla="*/ 188 h 501"/>
                <a:gd name="T54" fmla="*/ 374 w 618"/>
                <a:gd name="T55" fmla="*/ 169 h 501"/>
                <a:gd name="T56" fmla="*/ 349 w 618"/>
                <a:gd name="T57" fmla="*/ 94 h 501"/>
                <a:gd name="T58" fmla="*/ 378 w 618"/>
                <a:gd name="T59" fmla="*/ 2 h 501"/>
                <a:gd name="T60" fmla="*/ 388 w 618"/>
                <a:gd name="T61" fmla="*/ 39 h 501"/>
                <a:gd name="T62" fmla="*/ 416 w 618"/>
                <a:gd name="T63" fmla="*/ 137 h 501"/>
                <a:gd name="T64" fmla="*/ 487 w 618"/>
                <a:gd name="T65" fmla="*/ 269 h 501"/>
                <a:gd name="T66" fmla="*/ 570 w 618"/>
                <a:gd name="T67" fmla="*/ 351 h 501"/>
                <a:gd name="T68" fmla="*/ 599 w 618"/>
                <a:gd name="T69" fmla="*/ 368 h 501"/>
                <a:gd name="T70" fmla="*/ 593 w 618"/>
                <a:gd name="T71" fmla="*/ 410 h 501"/>
                <a:gd name="T72" fmla="*/ 482 w 618"/>
                <a:gd name="T73" fmla="*/ 48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18" h="501">
                  <a:moveTo>
                    <a:pt x="482" y="487"/>
                  </a:moveTo>
                  <a:lnTo>
                    <a:pt x="482" y="487"/>
                  </a:lnTo>
                  <a:cubicBezTo>
                    <a:pt x="458" y="501"/>
                    <a:pt x="432" y="498"/>
                    <a:pt x="412" y="492"/>
                  </a:cubicBezTo>
                  <a:cubicBezTo>
                    <a:pt x="364" y="478"/>
                    <a:pt x="332" y="467"/>
                    <a:pt x="273" y="430"/>
                  </a:cubicBezTo>
                  <a:cubicBezTo>
                    <a:pt x="124" y="337"/>
                    <a:pt x="49" y="250"/>
                    <a:pt x="41" y="240"/>
                  </a:cubicBezTo>
                  <a:cubicBezTo>
                    <a:pt x="34" y="231"/>
                    <a:pt x="33" y="217"/>
                    <a:pt x="37" y="213"/>
                  </a:cubicBezTo>
                  <a:cubicBezTo>
                    <a:pt x="42" y="209"/>
                    <a:pt x="51" y="214"/>
                    <a:pt x="56" y="217"/>
                  </a:cubicBezTo>
                  <a:cubicBezTo>
                    <a:pt x="84" y="242"/>
                    <a:pt x="119" y="270"/>
                    <a:pt x="142" y="286"/>
                  </a:cubicBezTo>
                  <a:cubicBezTo>
                    <a:pt x="149" y="291"/>
                    <a:pt x="162" y="300"/>
                    <a:pt x="167" y="295"/>
                  </a:cubicBezTo>
                  <a:cubicBezTo>
                    <a:pt x="172" y="289"/>
                    <a:pt x="168" y="282"/>
                    <a:pt x="160" y="277"/>
                  </a:cubicBezTo>
                  <a:cubicBezTo>
                    <a:pt x="94" y="227"/>
                    <a:pt x="27" y="164"/>
                    <a:pt x="18" y="154"/>
                  </a:cubicBezTo>
                  <a:cubicBezTo>
                    <a:pt x="4" y="140"/>
                    <a:pt x="0" y="128"/>
                    <a:pt x="6" y="121"/>
                  </a:cubicBezTo>
                  <a:cubicBezTo>
                    <a:pt x="14" y="112"/>
                    <a:pt x="24" y="116"/>
                    <a:pt x="35" y="125"/>
                  </a:cubicBezTo>
                  <a:cubicBezTo>
                    <a:pt x="47" y="134"/>
                    <a:pt x="114" y="194"/>
                    <a:pt x="172" y="233"/>
                  </a:cubicBezTo>
                  <a:cubicBezTo>
                    <a:pt x="189" y="245"/>
                    <a:pt x="204" y="253"/>
                    <a:pt x="210" y="245"/>
                  </a:cubicBezTo>
                  <a:cubicBezTo>
                    <a:pt x="217" y="237"/>
                    <a:pt x="203" y="223"/>
                    <a:pt x="191" y="215"/>
                  </a:cubicBezTo>
                  <a:cubicBezTo>
                    <a:pt x="98" y="148"/>
                    <a:pt x="50" y="98"/>
                    <a:pt x="38" y="85"/>
                  </a:cubicBezTo>
                  <a:cubicBezTo>
                    <a:pt x="29" y="74"/>
                    <a:pt x="26" y="61"/>
                    <a:pt x="32" y="54"/>
                  </a:cubicBezTo>
                  <a:cubicBezTo>
                    <a:pt x="39" y="45"/>
                    <a:pt x="50" y="47"/>
                    <a:pt x="63" y="59"/>
                  </a:cubicBezTo>
                  <a:cubicBezTo>
                    <a:pt x="129" y="119"/>
                    <a:pt x="208" y="174"/>
                    <a:pt x="223" y="183"/>
                  </a:cubicBezTo>
                  <a:cubicBezTo>
                    <a:pt x="238" y="192"/>
                    <a:pt x="253" y="199"/>
                    <a:pt x="257" y="193"/>
                  </a:cubicBezTo>
                  <a:cubicBezTo>
                    <a:pt x="262" y="187"/>
                    <a:pt x="259" y="179"/>
                    <a:pt x="250" y="173"/>
                  </a:cubicBezTo>
                  <a:cubicBezTo>
                    <a:pt x="198" y="139"/>
                    <a:pt x="116" y="74"/>
                    <a:pt x="97" y="55"/>
                  </a:cubicBezTo>
                  <a:cubicBezTo>
                    <a:pt x="86" y="45"/>
                    <a:pt x="83" y="34"/>
                    <a:pt x="90" y="26"/>
                  </a:cubicBezTo>
                  <a:cubicBezTo>
                    <a:pt x="98" y="17"/>
                    <a:pt x="114" y="21"/>
                    <a:pt x="130" y="33"/>
                  </a:cubicBezTo>
                  <a:cubicBezTo>
                    <a:pt x="148" y="47"/>
                    <a:pt x="187" y="78"/>
                    <a:pt x="247" y="119"/>
                  </a:cubicBezTo>
                  <a:cubicBezTo>
                    <a:pt x="326" y="173"/>
                    <a:pt x="345" y="187"/>
                    <a:pt x="361" y="188"/>
                  </a:cubicBezTo>
                  <a:cubicBezTo>
                    <a:pt x="367" y="189"/>
                    <a:pt x="378" y="189"/>
                    <a:pt x="374" y="169"/>
                  </a:cubicBezTo>
                  <a:cubicBezTo>
                    <a:pt x="369" y="147"/>
                    <a:pt x="354" y="117"/>
                    <a:pt x="349" y="94"/>
                  </a:cubicBezTo>
                  <a:cubicBezTo>
                    <a:pt x="337" y="39"/>
                    <a:pt x="358" y="0"/>
                    <a:pt x="378" y="2"/>
                  </a:cubicBezTo>
                  <a:cubicBezTo>
                    <a:pt x="385" y="3"/>
                    <a:pt x="386" y="25"/>
                    <a:pt x="388" y="39"/>
                  </a:cubicBezTo>
                  <a:cubicBezTo>
                    <a:pt x="391" y="73"/>
                    <a:pt x="400" y="96"/>
                    <a:pt x="416" y="137"/>
                  </a:cubicBezTo>
                  <a:cubicBezTo>
                    <a:pt x="435" y="183"/>
                    <a:pt x="457" y="224"/>
                    <a:pt x="487" y="269"/>
                  </a:cubicBezTo>
                  <a:cubicBezTo>
                    <a:pt x="508" y="300"/>
                    <a:pt x="522" y="322"/>
                    <a:pt x="570" y="351"/>
                  </a:cubicBezTo>
                  <a:cubicBezTo>
                    <a:pt x="581" y="358"/>
                    <a:pt x="588" y="361"/>
                    <a:pt x="599" y="368"/>
                  </a:cubicBezTo>
                  <a:cubicBezTo>
                    <a:pt x="607" y="373"/>
                    <a:pt x="618" y="390"/>
                    <a:pt x="593" y="410"/>
                  </a:cubicBezTo>
                  <a:cubicBezTo>
                    <a:pt x="574" y="426"/>
                    <a:pt x="523" y="464"/>
                    <a:pt x="482" y="487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64523029-1BC0-4B11-A00F-BECDBF47C1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6" y="2336"/>
              <a:ext cx="345" cy="305"/>
            </a:xfrm>
            <a:custGeom>
              <a:avLst/>
              <a:gdLst>
                <a:gd name="T0" fmla="*/ 566 w 572"/>
                <a:gd name="T1" fmla="*/ 161 h 508"/>
                <a:gd name="T2" fmla="*/ 566 w 572"/>
                <a:gd name="T3" fmla="*/ 161 h 508"/>
                <a:gd name="T4" fmla="*/ 550 w 572"/>
                <a:gd name="T5" fmla="*/ 228 h 508"/>
                <a:gd name="T6" fmla="*/ 448 w 572"/>
                <a:gd name="T7" fmla="*/ 341 h 508"/>
                <a:gd name="T8" fmla="*/ 195 w 572"/>
                <a:gd name="T9" fmla="*/ 503 h 508"/>
                <a:gd name="T10" fmla="*/ 168 w 572"/>
                <a:gd name="T11" fmla="*/ 498 h 508"/>
                <a:gd name="T12" fmla="*/ 178 w 572"/>
                <a:gd name="T13" fmla="*/ 482 h 508"/>
                <a:gd name="T14" fmla="*/ 270 w 572"/>
                <a:gd name="T15" fmla="*/ 422 h 508"/>
                <a:gd name="T16" fmla="*/ 286 w 572"/>
                <a:gd name="T17" fmla="*/ 400 h 508"/>
                <a:gd name="T18" fmla="*/ 267 w 572"/>
                <a:gd name="T19" fmla="*/ 401 h 508"/>
                <a:gd name="T20" fmla="*/ 106 w 572"/>
                <a:gd name="T21" fmla="*/ 499 h 508"/>
                <a:gd name="T22" fmla="*/ 71 w 572"/>
                <a:gd name="T23" fmla="*/ 499 h 508"/>
                <a:gd name="T24" fmla="*/ 84 w 572"/>
                <a:gd name="T25" fmla="*/ 473 h 508"/>
                <a:gd name="T26" fmla="*/ 229 w 572"/>
                <a:gd name="T27" fmla="*/ 376 h 508"/>
                <a:gd name="T28" fmla="*/ 252 w 572"/>
                <a:gd name="T29" fmla="*/ 344 h 508"/>
                <a:gd name="T30" fmla="*/ 217 w 572"/>
                <a:gd name="T31" fmla="*/ 353 h 508"/>
                <a:gd name="T32" fmla="*/ 47 w 572"/>
                <a:gd name="T33" fmla="*/ 458 h 508"/>
                <a:gd name="T34" fmla="*/ 15 w 572"/>
                <a:gd name="T35" fmla="*/ 454 h 508"/>
                <a:gd name="T36" fmla="*/ 30 w 572"/>
                <a:gd name="T37" fmla="*/ 427 h 508"/>
                <a:gd name="T38" fmla="*/ 197 w 572"/>
                <a:gd name="T39" fmla="*/ 312 h 508"/>
                <a:gd name="T40" fmla="*/ 217 w 572"/>
                <a:gd name="T41" fmla="*/ 283 h 508"/>
                <a:gd name="T42" fmla="*/ 196 w 572"/>
                <a:gd name="T43" fmla="*/ 284 h 508"/>
                <a:gd name="T44" fmla="*/ 37 w 572"/>
                <a:gd name="T45" fmla="*/ 393 h 508"/>
                <a:gd name="T46" fmla="*/ 6 w 572"/>
                <a:gd name="T47" fmla="*/ 390 h 508"/>
                <a:gd name="T48" fmla="*/ 26 w 572"/>
                <a:gd name="T49" fmla="*/ 355 h 508"/>
                <a:gd name="T50" fmla="*/ 144 w 572"/>
                <a:gd name="T51" fmla="*/ 270 h 508"/>
                <a:gd name="T52" fmla="*/ 244 w 572"/>
                <a:gd name="T53" fmla="*/ 183 h 508"/>
                <a:gd name="T54" fmla="*/ 231 w 572"/>
                <a:gd name="T55" fmla="*/ 165 h 508"/>
                <a:gd name="T56" fmla="*/ 151 w 572"/>
                <a:gd name="T57" fmla="*/ 165 h 508"/>
                <a:gd name="T58" fmla="*/ 73 w 572"/>
                <a:gd name="T59" fmla="*/ 109 h 508"/>
                <a:gd name="T60" fmla="*/ 111 w 572"/>
                <a:gd name="T61" fmla="*/ 111 h 508"/>
                <a:gd name="T62" fmla="*/ 213 w 572"/>
                <a:gd name="T63" fmla="*/ 114 h 508"/>
                <a:gd name="T64" fmla="*/ 360 w 572"/>
                <a:gd name="T65" fmla="*/ 88 h 508"/>
                <a:gd name="T66" fmla="*/ 464 w 572"/>
                <a:gd name="T67" fmla="*/ 35 h 508"/>
                <a:gd name="T68" fmla="*/ 489 w 572"/>
                <a:gd name="T69" fmla="*/ 12 h 508"/>
                <a:gd name="T70" fmla="*/ 528 w 572"/>
                <a:gd name="T71" fmla="*/ 31 h 508"/>
                <a:gd name="T72" fmla="*/ 566 w 572"/>
                <a:gd name="T73" fmla="*/ 16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2" h="508">
                  <a:moveTo>
                    <a:pt x="566" y="161"/>
                  </a:moveTo>
                  <a:lnTo>
                    <a:pt x="566" y="161"/>
                  </a:lnTo>
                  <a:cubicBezTo>
                    <a:pt x="572" y="187"/>
                    <a:pt x="562" y="211"/>
                    <a:pt x="550" y="228"/>
                  </a:cubicBezTo>
                  <a:cubicBezTo>
                    <a:pt x="521" y="269"/>
                    <a:pt x="501" y="297"/>
                    <a:pt x="448" y="341"/>
                  </a:cubicBezTo>
                  <a:cubicBezTo>
                    <a:pt x="313" y="454"/>
                    <a:pt x="207" y="499"/>
                    <a:pt x="195" y="503"/>
                  </a:cubicBezTo>
                  <a:cubicBezTo>
                    <a:pt x="184" y="507"/>
                    <a:pt x="171" y="504"/>
                    <a:pt x="168" y="498"/>
                  </a:cubicBezTo>
                  <a:cubicBezTo>
                    <a:pt x="165" y="493"/>
                    <a:pt x="173" y="486"/>
                    <a:pt x="178" y="482"/>
                  </a:cubicBezTo>
                  <a:cubicBezTo>
                    <a:pt x="211" y="463"/>
                    <a:pt x="248" y="439"/>
                    <a:pt x="270" y="422"/>
                  </a:cubicBezTo>
                  <a:cubicBezTo>
                    <a:pt x="277" y="417"/>
                    <a:pt x="289" y="407"/>
                    <a:pt x="286" y="400"/>
                  </a:cubicBezTo>
                  <a:cubicBezTo>
                    <a:pt x="282" y="394"/>
                    <a:pt x="274" y="396"/>
                    <a:pt x="267" y="401"/>
                  </a:cubicBezTo>
                  <a:cubicBezTo>
                    <a:pt x="199" y="448"/>
                    <a:pt x="119" y="493"/>
                    <a:pt x="106" y="499"/>
                  </a:cubicBezTo>
                  <a:cubicBezTo>
                    <a:pt x="89" y="507"/>
                    <a:pt x="76" y="508"/>
                    <a:pt x="71" y="499"/>
                  </a:cubicBezTo>
                  <a:cubicBezTo>
                    <a:pt x="65" y="490"/>
                    <a:pt x="72" y="482"/>
                    <a:pt x="84" y="473"/>
                  </a:cubicBezTo>
                  <a:cubicBezTo>
                    <a:pt x="96" y="465"/>
                    <a:pt x="174" y="419"/>
                    <a:pt x="229" y="376"/>
                  </a:cubicBezTo>
                  <a:cubicBezTo>
                    <a:pt x="245" y="363"/>
                    <a:pt x="257" y="352"/>
                    <a:pt x="252" y="344"/>
                  </a:cubicBezTo>
                  <a:cubicBezTo>
                    <a:pt x="246" y="335"/>
                    <a:pt x="229" y="344"/>
                    <a:pt x="217" y="353"/>
                  </a:cubicBezTo>
                  <a:cubicBezTo>
                    <a:pt x="125" y="421"/>
                    <a:pt x="63" y="451"/>
                    <a:pt x="47" y="458"/>
                  </a:cubicBezTo>
                  <a:cubicBezTo>
                    <a:pt x="33" y="464"/>
                    <a:pt x="20" y="462"/>
                    <a:pt x="15" y="454"/>
                  </a:cubicBezTo>
                  <a:cubicBezTo>
                    <a:pt x="9" y="445"/>
                    <a:pt x="15" y="435"/>
                    <a:pt x="30" y="427"/>
                  </a:cubicBezTo>
                  <a:cubicBezTo>
                    <a:pt x="107" y="382"/>
                    <a:pt x="183" y="324"/>
                    <a:pt x="197" y="312"/>
                  </a:cubicBezTo>
                  <a:cubicBezTo>
                    <a:pt x="211" y="301"/>
                    <a:pt x="221" y="289"/>
                    <a:pt x="217" y="283"/>
                  </a:cubicBezTo>
                  <a:cubicBezTo>
                    <a:pt x="213" y="276"/>
                    <a:pt x="204" y="277"/>
                    <a:pt x="196" y="284"/>
                  </a:cubicBezTo>
                  <a:cubicBezTo>
                    <a:pt x="147" y="322"/>
                    <a:pt x="60" y="380"/>
                    <a:pt x="37" y="393"/>
                  </a:cubicBezTo>
                  <a:cubicBezTo>
                    <a:pt x="23" y="400"/>
                    <a:pt x="12" y="400"/>
                    <a:pt x="6" y="390"/>
                  </a:cubicBezTo>
                  <a:cubicBezTo>
                    <a:pt x="0" y="381"/>
                    <a:pt x="10" y="366"/>
                    <a:pt x="26" y="355"/>
                  </a:cubicBezTo>
                  <a:cubicBezTo>
                    <a:pt x="44" y="342"/>
                    <a:pt x="86" y="314"/>
                    <a:pt x="144" y="270"/>
                  </a:cubicBezTo>
                  <a:cubicBezTo>
                    <a:pt x="219" y="211"/>
                    <a:pt x="238" y="197"/>
                    <a:pt x="244" y="183"/>
                  </a:cubicBezTo>
                  <a:cubicBezTo>
                    <a:pt x="247" y="178"/>
                    <a:pt x="250" y="167"/>
                    <a:pt x="231" y="165"/>
                  </a:cubicBezTo>
                  <a:cubicBezTo>
                    <a:pt x="208" y="163"/>
                    <a:pt x="174" y="167"/>
                    <a:pt x="151" y="165"/>
                  </a:cubicBezTo>
                  <a:cubicBezTo>
                    <a:pt x="95" y="160"/>
                    <a:pt x="65" y="127"/>
                    <a:pt x="73" y="109"/>
                  </a:cubicBezTo>
                  <a:cubicBezTo>
                    <a:pt x="76" y="103"/>
                    <a:pt x="97" y="108"/>
                    <a:pt x="111" y="111"/>
                  </a:cubicBezTo>
                  <a:cubicBezTo>
                    <a:pt x="144" y="118"/>
                    <a:pt x="169" y="117"/>
                    <a:pt x="213" y="114"/>
                  </a:cubicBezTo>
                  <a:cubicBezTo>
                    <a:pt x="262" y="111"/>
                    <a:pt x="308" y="103"/>
                    <a:pt x="360" y="88"/>
                  </a:cubicBezTo>
                  <a:cubicBezTo>
                    <a:pt x="397" y="78"/>
                    <a:pt x="421" y="71"/>
                    <a:pt x="464" y="35"/>
                  </a:cubicBezTo>
                  <a:cubicBezTo>
                    <a:pt x="474" y="26"/>
                    <a:pt x="479" y="21"/>
                    <a:pt x="489" y="12"/>
                  </a:cubicBezTo>
                  <a:cubicBezTo>
                    <a:pt x="496" y="6"/>
                    <a:pt x="516" y="0"/>
                    <a:pt x="528" y="31"/>
                  </a:cubicBezTo>
                  <a:cubicBezTo>
                    <a:pt x="537" y="54"/>
                    <a:pt x="557" y="114"/>
                    <a:pt x="566" y="161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0BD24316-85A3-46BC-B755-FC60495F03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93" y="2540"/>
              <a:ext cx="276" cy="403"/>
            </a:xfrm>
            <a:custGeom>
              <a:avLst/>
              <a:gdLst>
                <a:gd name="T0" fmla="*/ 27 w 458"/>
                <a:gd name="T1" fmla="*/ 570 h 670"/>
                <a:gd name="T2" fmla="*/ 27 w 458"/>
                <a:gd name="T3" fmla="*/ 570 h 670"/>
                <a:gd name="T4" fmla="*/ 1 w 458"/>
                <a:gd name="T5" fmla="*/ 505 h 670"/>
                <a:gd name="T6" fmla="*/ 17 w 458"/>
                <a:gd name="T7" fmla="*/ 354 h 670"/>
                <a:gd name="T8" fmla="*/ 126 w 458"/>
                <a:gd name="T9" fmla="*/ 75 h 670"/>
                <a:gd name="T10" fmla="*/ 151 w 458"/>
                <a:gd name="T11" fmla="*/ 63 h 670"/>
                <a:gd name="T12" fmla="*/ 153 w 458"/>
                <a:gd name="T13" fmla="*/ 81 h 670"/>
                <a:gd name="T14" fmla="*/ 113 w 458"/>
                <a:gd name="T15" fmla="*/ 185 h 670"/>
                <a:gd name="T16" fmla="*/ 113 w 458"/>
                <a:gd name="T17" fmla="*/ 211 h 670"/>
                <a:gd name="T18" fmla="*/ 128 w 458"/>
                <a:gd name="T19" fmla="*/ 199 h 670"/>
                <a:gd name="T20" fmla="*/ 201 w 458"/>
                <a:gd name="T21" fmla="*/ 26 h 670"/>
                <a:gd name="T22" fmla="*/ 229 w 458"/>
                <a:gd name="T23" fmla="*/ 4 h 670"/>
                <a:gd name="T24" fmla="*/ 234 w 458"/>
                <a:gd name="T25" fmla="*/ 34 h 670"/>
                <a:gd name="T26" fmla="*/ 174 w 458"/>
                <a:gd name="T27" fmla="*/ 197 h 670"/>
                <a:gd name="T28" fmla="*/ 174 w 458"/>
                <a:gd name="T29" fmla="*/ 237 h 670"/>
                <a:gd name="T30" fmla="*/ 197 w 458"/>
                <a:gd name="T31" fmla="*/ 209 h 670"/>
                <a:gd name="T32" fmla="*/ 273 w 458"/>
                <a:gd name="T33" fmla="*/ 24 h 670"/>
                <a:gd name="T34" fmla="*/ 300 w 458"/>
                <a:gd name="T35" fmla="*/ 8 h 670"/>
                <a:gd name="T36" fmla="*/ 305 w 458"/>
                <a:gd name="T37" fmla="*/ 39 h 670"/>
                <a:gd name="T38" fmla="*/ 237 w 458"/>
                <a:gd name="T39" fmla="*/ 230 h 670"/>
                <a:gd name="T40" fmla="*/ 238 w 458"/>
                <a:gd name="T41" fmla="*/ 266 h 670"/>
                <a:gd name="T42" fmla="*/ 255 w 458"/>
                <a:gd name="T43" fmla="*/ 252 h 670"/>
                <a:gd name="T44" fmla="*/ 319 w 458"/>
                <a:gd name="T45" fmla="*/ 71 h 670"/>
                <a:gd name="T46" fmla="*/ 346 w 458"/>
                <a:gd name="T47" fmla="*/ 55 h 670"/>
                <a:gd name="T48" fmla="*/ 350 w 458"/>
                <a:gd name="T49" fmla="*/ 95 h 670"/>
                <a:gd name="T50" fmla="*/ 305 w 458"/>
                <a:gd name="T51" fmla="*/ 233 h 670"/>
                <a:gd name="T52" fmla="*/ 275 w 458"/>
                <a:gd name="T53" fmla="*/ 363 h 670"/>
                <a:gd name="T54" fmla="*/ 296 w 458"/>
                <a:gd name="T55" fmla="*/ 369 h 670"/>
                <a:gd name="T56" fmla="*/ 360 w 458"/>
                <a:gd name="T57" fmla="*/ 322 h 670"/>
                <a:gd name="T58" fmla="*/ 457 w 458"/>
                <a:gd name="T59" fmla="*/ 322 h 670"/>
                <a:gd name="T60" fmla="*/ 425 w 458"/>
                <a:gd name="T61" fmla="*/ 342 h 670"/>
                <a:gd name="T62" fmla="*/ 341 w 458"/>
                <a:gd name="T63" fmla="*/ 399 h 670"/>
                <a:gd name="T64" fmla="*/ 237 w 458"/>
                <a:gd name="T65" fmla="*/ 508 h 670"/>
                <a:gd name="T66" fmla="*/ 184 w 458"/>
                <a:gd name="T67" fmla="*/ 612 h 670"/>
                <a:gd name="T68" fmla="*/ 177 w 458"/>
                <a:gd name="T69" fmla="*/ 644 h 670"/>
                <a:gd name="T70" fmla="*/ 135 w 458"/>
                <a:gd name="T71" fmla="*/ 652 h 670"/>
                <a:gd name="T72" fmla="*/ 27 w 458"/>
                <a:gd name="T73" fmla="*/ 5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58" h="670">
                  <a:moveTo>
                    <a:pt x="27" y="570"/>
                  </a:moveTo>
                  <a:lnTo>
                    <a:pt x="27" y="570"/>
                  </a:lnTo>
                  <a:cubicBezTo>
                    <a:pt x="8" y="552"/>
                    <a:pt x="2" y="527"/>
                    <a:pt x="1" y="505"/>
                  </a:cubicBezTo>
                  <a:cubicBezTo>
                    <a:pt x="0" y="455"/>
                    <a:pt x="0" y="421"/>
                    <a:pt x="17" y="354"/>
                  </a:cubicBezTo>
                  <a:cubicBezTo>
                    <a:pt x="60" y="183"/>
                    <a:pt x="119" y="85"/>
                    <a:pt x="126" y="75"/>
                  </a:cubicBezTo>
                  <a:cubicBezTo>
                    <a:pt x="133" y="65"/>
                    <a:pt x="145" y="60"/>
                    <a:pt x="151" y="63"/>
                  </a:cubicBezTo>
                  <a:cubicBezTo>
                    <a:pt x="157" y="65"/>
                    <a:pt x="155" y="76"/>
                    <a:pt x="153" y="81"/>
                  </a:cubicBezTo>
                  <a:cubicBezTo>
                    <a:pt x="138" y="116"/>
                    <a:pt x="122" y="158"/>
                    <a:pt x="113" y="185"/>
                  </a:cubicBezTo>
                  <a:cubicBezTo>
                    <a:pt x="111" y="193"/>
                    <a:pt x="107" y="208"/>
                    <a:pt x="113" y="211"/>
                  </a:cubicBezTo>
                  <a:cubicBezTo>
                    <a:pt x="120" y="214"/>
                    <a:pt x="126" y="208"/>
                    <a:pt x="128" y="199"/>
                  </a:cubicBezTo>
                  <a:cubicBezTo>
                    <a:pt x="156" y="121"/>
                    <a:pt x="194" y="38"/>
                    <a:pt x="201" y="26"/>
                  </a:cubicBezTo>
                  <a:cubicBezTo>
                    <a:pt x="210" y="9"/>
                    <a:pt x="220" y="0"/>
                    <a:pt x="229" y="4"/>
                  </a:cubicBezTo>
                  <a:cubicBezTo>
                    <a:pt x="240" y="9"/>
                    <a:pt x="239" y="20"/>
                    <a:pt x="234" y="34"/>
                  </a:cubicBezTo>
                  <a:cubicBezTo>
                    <a:pt x="229" y="47"/>
                    <a:pt x="193" y="130"/>
                    <a:pt x="174" y="197"/>
                  </a:cubicBezTo>
                  <a:cubicBezTo>
                    <a:pt x="168" y="217"/>
                    <a:pt x="165" y="233"/>
                    <a:pt x="174" y="237"/>
                  </a:cubicBezTo>
                  <a:cubicBezTo>
                    <a:pt x="184" y="240"/>
                    <a:pt x="192" y="223"/>
                    <a:pt x="197" y="209"/>
                  </a:cubicBezTo>
                  <a:cubicBezTo>
                    <a:pt x="232" y="100"/>
                    <a:pt x="264" y="39"/>
                    <a:pt x="273" y="24"/>
                  </a:cubicBezTo>
                  <a:cubicBezTo>
                    <a:pt x="280" y="11"/>
                    <a:pt x="292" y="5"/>
                    <a:pt x="300" y="8"/>
                  </a:cubicBezTo>
                  <a:cubicBezTo>
                    <a:pt x="311" y="12"/>
                    <a:pt x="312" y="23"/>
                    <a:pt x="305" y="39"/>
                  </a:cubicBezTo>
                  <a:cubicBezTo>
                    <a:pt x="269" y="121"/>
                    <a:pt x="241" y="213"/>
                    <a:pt x="237" y="230"/>
                  </a:cubicBezTo>
                  <a:cubicBezTo>
                    <a:pt x="233" y="247"/>
                    <a:pt x="231" y="263"/>
                    <a:pt x="238" y="266"/>
                  </a:cubicBezTo>
                  <a:cubicBezTo>
                    <a:pt x="245" y="268"/>
                    <a:pt x="252" y="262"/>
                    <a:pt x="255" y="252"/>
                  </a:cubicBezTo>
                  <a:cubicBezTo>
                    <a:pt x="271" y="193"/>
                    <a:pt x="308" y="95"/>
                    <a:pt x="319" y="71"/>
                  </a:cubicBezTo>
                  <a:cubicBezTo>
                    <a:pt x="326" y="57"/>
                    <a:pt x="335" y="51"/>
                    <a:pt x="346" y="55"/>
                  </a:cubicBezTo>
                  <a:cubicBezTo>
                    <a:pt x="356" y="59"/>
                    <a:pt x="357" y="76"/>
                    <a:pt x="350" y="95"/>
                  </a:cubicBezTo>
                  <a:cubicBezTo>
                    <a:pt x="343" y="116"/>
                    <a:pt x="325" y="163"/>
                    <a:pt x="305" y="233"/>
                  </a:cubicBezTo>
                  <a:cubicBezTo>
                    <a:pt x="278" y="325"/>
                    <a:pt x="271" y="347"/>
                    <a:pt x="275" y="363"/>
                  </a:cubicBezTo>
                  <a:cubicBezTo>
                    <a:pt x="276" y="368"/>
                    <a:pt x="279" y="379"/>
                    <a:pt x="296" y="369"/>
                  </a:cubicBezTo>
                  <a:cubicBezTo>
                    <a:pt x="316" y="358"/>
                    <a:pt x="340" y="334"/>
                    <a:pt x="360" y="322"/>
                  </a:cubicBezTo>
                  <a:cubicBezTo>
                    <a:pt x="409" y="294"/>
                    <a:pt x="453" y="302"/>
                    <a:pt x="457" y="322"/>
                  </a:cubicBezTo>
                  <a:cubicBezTo>
                    <a:pt x="458" y="328"/>
                    <a:pt x="437" y="336"/>
                    <a:pt x="425" y="342"/>
                  </a:cubicBezTo>
                  <a:cubicBezTo>
                    <a:pt x="394" y="356"/>
                    <a:pt x="374" y="372"/>
                    <a:pt x="341" y="399"/>
                  </a:cubicBezTo>
                  <a:cubicBezTo>
                    <a:pt x="303" y="431"/>
                    <a:pt x="270" y="465"/>
                    <a:pt x="237" y="508"/>
                  </a:cubicBezTo>
                  <a:cubicBezTo>
                    <a:pt x="213" y="537"/>
                    <a:pt x="198" y="557"/>
                    <a:pt x="184" y="612"/>
                  </a:cubicBezTo>
                  <a:cubicBezTo>
                    <a:pt x="181" y="625"/>
                    <a:pt x="180" y="632"/>
                    <a:pt x="177" y="644"/>
                  </a:cubicBezTo>
                  <a:cubicBezTo>
                    <a:pt x="175" y="653"/>
                    <a:pt x="163" y="670"/>
                    <a:pt x="135" y="652"/>
                  </a:cubicBezTo>
                  <a:cubicBezTo>
                    <a:pt x="114" y="639"/>
                    <a:pt x="62" y="602"/>
                    <a:pt x="27" y="57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E60EFFCA-6526-47A4-A122-400B6E981B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1" y="2287"/>
              <a:ext cx="405" cy="255"/>
            </a:xfrm>
            <a:custGeom>
              <a:avLst/>
              <a:gdLst>
                <a:gd name="T0" fmla="*/ 53 w 672"/>
                <a:gd name="T1" fmla="*/ 89 h 424"/>
                <a:gd name="T2" fmla="*/ 53 w 672"/>
                <a:gd name="T3" fmla="*/ 89 h 424"/>
                <a:gd name="T4" fmla="*/ 106 w 672"/>
                <a:gd name="T5" fmla="*/ 44 h 424"/>
                <a:gd name="T6" fmla="*/ 255 w 672"/>
                <a:gd name="T7" fmla="*/ 12 h 424"/>
                <a:gd name="T8" fmla="*/ 554 w 672"/>
                <a:gd name="T9" fmla="*/ 30 h 424"/>
                <a:gd name="T10" fmla="*/ 574 w 672"/>
                <a:gd name="T11" fmla="*/ 49 h 424"/>
                <a:gd name="T12" fmla="*/ 556 w 672"/>
                <a:gd name="T13" fmla="*/ 57 h 424"/>
                <a:gd name="T14" fmla="*/ 446 w 672"/>
                <a:gd name="T15" fmla="*/ 51 h 424"/>
                <a:gd name="T16" fmla="*/ 421 w 672"/>
                <a:gd name="T17" fmla="*/ 60 h 424"/>
                <a:gd name="T18" fmla="*/ 437 w 672"/>
                <a:gd name="T19" fmla="*/ 70 h 424"/>
                <a:gd name="T20" fmla="*/ 624 w 672"/>
                <a:gd name="T21" fmla="*/ 85 h 424"/>
                <a:gd name="T22" fmla="*/ 653 w 672"/>
                <a:gd name="T23" fmla="*/ 106 h 424"/>
                <a:gd name="T24" fmla="*/ 627 w 672"/>
                <a:gd name="T25" fmla="*/ 119 h 424"/>
                <a:gd name="T26" fmla="*/ 453 w 672"/>
                <a:gd name="T27" fmla="*/ 113 h 424"/>
                <a:gd name="T28" fmla="*/ 415 w 672"/>
                <a:gd name="T29" fmla="*/ 126 h 424"/>
                <a:gd name="T30" fmla="*/ 449 w 672"/>
                <a:gd name="T31" fmla="*/ 138 h 424"/>
                <a:gd name="T32" fmla="*/ 648 w 672"/>
                <a:gd name="T33" fmla="*/ 154 h 424"/>
                <a:gd name="T34" fmla="*/ 671 w 672"/>
                <a:gd name="T35" fmla="*/ 175 h 424"/>
                <a:gd name="T36" fmla="*/ 643 w 672"/>
                <a:gd name="T37" fmla="*/ 189 h 424"/>
                <a:gd name="T38" fmla="*/ 441 w 672"/>
                <a:gd name="T39" fmla="*/ 183 h 424"/>
                <a:gd name="T40" fmla="*/ 407 w 672"/>
                <a:gd name="T41" fmla="*/ 195 h 424"/>
                <a:gd name="T42" fmla="*/ 425 w 672"/>
                <a:gd name="T43" fmla="*/ 207 h 424"/>
                <a:gd name="T44" fmla="*/ 618 w 672"/>
                <a:gd name="T45" fmla="*/ 212 h 424"/>
                <a:gd name="T46" fmla="*/ 641 w 672"/>
                <a:gd name="T47" fmla="*/ 232 h 424"/>
                <a:gd name="T48" fmla="*/ 604 w 672"/>
                <a:gd name="T49" fmla="*/ 249 h 424"/>
                <a:gd name="T50" fmla="*/ 459 w 672"/>
                <a:gd name="T51" fmla="*/ 249 h 424"/>
                <a:gd name="T52" fmla="*/ 327 w 672"/>
                <a:gd name="T53" fmla="*/ 260 h 424"/>
                <a:gd name="T54" fmla="*/ 327 w 672"/>
                <a:gd name="T55" fmla="*/ 282 h 424"/>
                <a:gd name="T56" fmla="*/ 391 w 672"/>
                <a:gd name="T57" fmla="*/ 329 h 424"/>
                <a:gd name="T58" fmla="*/ 422 w 672"/>
                <a:gd name="T59" fmla="*/ 420 h 424"/>
                <a:gd name="T60" fmla="*/ 392 w 672"/>
                <a:gd name="T61" fmla="*/ 396 h 424"/>
                <a:gd name="T62" fmla="*/ 312 w 672"/>
                <a:gd name="T63" fmla="*/ 334 h 424"/>
                <a:gd name="T64" fmla="*/ 177 w 672"/>
                <a:gd name="T65" fmla="*/ 268 h 424"/>
                <a:gd name="T66" fmla="*/ 62 w 672"/>
                <a:gd name="T67" fmla="*/ 251 h 424"/>
                <a:gd name="T68" fmla="*/ 28 w 672"/>
                <a:gd name="T69" fmla="*/ 254 h 424"/>
                <a:gd name="T70" fmla="*/ 8 w 672"/>
                <a:gd name="T71" fmla="*/ 216 h 424"/>
                <a:gd name="T72" fmla="*/ 53 w 672"/>
                <a:gd name="T73" fmla="*/ 8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2" h="424">
                  <a:moveTo>
                    <a:pt x="53" y="89"/>
                  </a:moveTo>
                  <a:lnTo>
                    <a:pt x="53" y="89"/>
                  </a:lnTo>
                  <a:cubicBezTo>
                    <a:pt x="64" y="64"/>
                    <a:pt x="86" y="51"/>
                    <a:pt x="106" y="44"/>
                  </a:cubicBezTo>
                  <a:cubicBezTo>
                    <a:pt x="154" y="27"/>
                    <a:pt x="186" y="17"/>
                    <a:pt x="255" y="12"/>
                  </a:cubicBezTo>
                  <a:cubicBezTo>
                    <a:pt x="431" y="0"/>
                    <a:pt x="542" y="26"/>
                    <a:pt x="554" y="30"/>
                  </a:cubicBezTo>
                  <a:cubicBezTo>
                    <a:pt x="566" y="33"/>
                    <a:pt x="575" y="43"/>
                    <a:pt x="574" y="49"/>
                  </a:cubicBezTo>
                  <a:cubicBezTo>
                    <a:pt x="573" y="56"/>
                    <a:pt x="562" y="57"/>
                    <a:pt x="556" y="57"/>
                  </a:cubicBezTo>
                  <a:cubicBezTo>
                    <a:pt x="518" y="54"/>
                    <a:pt x="474" y="51"/>
                    <a:pt x="446" y="51"/>
                  </a:cubicBezTo>
                  <a:cubicBezTo>
                    <a:pt x="438" y="52"/>
                    <a:pt x="422" y="52"/>
                    <a:pt x="421" y="60"/>
                  </a:cubicBezTo>
                  <a:cubicBezTo>
                    <a:pt x="420" y="67"/>
                    <a:pt x="428" y="70"/>
                    <a:pt x="437" y="70"/>
                  </a:cubicBezTo>
                  <a:cubicBezTo>
                    <a:pt x="519" y="72"/>
                    <a:pt x="611" y="83"/>
                    <a:pt x="624" y="85"/>
                  </a:cubicBezTo>
                  <a:cubicBezTo>
                    <a:pt x="643" y="89"/>
                    <a:pt x="654" y="96"/>
                    <a:pt x="653" y="106"/>
                  </a:cubicBezTo>
                  <a:cubicBezTo>
                    <a:pt x="652" y="117"/>
                    <a:pt x="641" y="120"/>
                    <a:pt x="627" y="119"/>
                  </a:cubicBezTo>
                  <a:cubicBezTo>
                    <a:pt x="612" y="119"/>
                    <a:pt x="522" y="110"/>
                    <a:pt x="453" y="113"/>
                  </a:cubicBezTo>
                  <a:cubicBezTo>
                    <a:pt x="432" y="113"/>
                    <a:pt x="415" y="116"/>
                    <a:pt x="415" y="126"/>
                  </a:cubicBezTo>
                  <a:cubicBezTo>
                    <a:pt x="415" y="136"/>
                    <a:pt x="433" y="138"/>
                    <a:pt x="449" y="138"/>
                  </a:cubicBezTo>
                  <a:cubicBezTo>
                    <a:pt x="563" y="138"/>
                    <a:pt x="631" y="150"/>
                    <a:pt x="648" y="154"/>
                  </a:cubicBezTo>
                  <a:cubicBezTo>
                    <a:pt x="662" y="157"/>
                    <a:pt x="672" y="166"/>
                    <a:pt x="671" y="175"/>
                  </a:cubicBezTo>
                  <a:cubicBezTo>
                    <a:pt x="671" y="186"/>
                    <a:pt x="661" y="191"/>
                    <a:pt x="643" y="189"/>
                  </a:cubicBezTo>
                  <a:cubicBezTo>
                    <a:pt x="555" y="180"/>
                    <a:pt x="459" y="182"/>
                    <a:pt x="441" y="183"/>
                  </a:cubicBezTo>
                  <a:cubicBezTo>
                    <a:pt x="423" y="184"/>
                    <a:pt x="408" y="188"/>
                    <a:pt x="407" y="195"/>
                  </a:cubicBezTo>
                  <a:cubicBezTo>
                    <a:pt x="407" y="203"/>
                    <a:pt x="415" y="207"/>
                    <a:pt x="425" y="207"/>
                  </a:cubicBezTo>
                  <a:cubicBezTo>
                    <a:pt x="487" y="204"/>
                    <a:pt x="591" y="209"/>
                    <a:pt x="618" y="212"/>
                  </a:cubicBezTo>
                  <a:cubicBezTo>
                    <a:pt x="633" y="214"/>
                    <a:pt x="642" y="221"/>
                    <a:pt x="641" y="232"/>
                  </a:cubicBezTo>
                  <a:cubicBezTo>
                    <a:pt x="640" y="243"/>
                    <a:pt x="624" y="250"/>
                    <a:pt x="604" y="249"/>
                  </a:cubicBezTo>
                  <a:cubicBezTo>
                    <a:pt x="582" y="249"/>
                    <a:pt x="532" y="246"/>
                    <a:pt x="459" y="249"/>
                  </a:cubicBezTo>
                  <a:cubicBezTo>
                    <a:pt x="364" y="252"/>
                    <a:pt x="340" y="252"/>
                    <a:pt x="327" y="260"/>
                  </a:cubicBezTo>
                  <a:cubicBezTo>
                    <a:pt x="321" y="263"/>
                    <a:pt x="312" y="270"/>
                    <a:pt x="327" y="282"/>
                  </a:cubicBezTo>
                  <a:cubicBezTo>
                    <a:pt x="344" y="297"/>
                    <a:pt x="374" y="314"/>
                    <a:pt x="391" y="329"/>
                  </a:cubicBezTo>
                  <a:cubicBezTo>
                    <a:pt x="434" y="367"/>
                    <a:pt x="439" y="410"/>
                    <a:pt x="422" y="420"/>
                  </a:cubicBezTo>
                  <a:cubicBezTo>
                    <a:pt x="416" y="424"/>
                    <a:pt x="402" y="407"/>
                    <a:pt x="392" y="396"/>
                  </a:cubicBezTo>
                  <a:cubicBezTo>
                    <a:pt x="370" y="371"/>
                    <a:pt x="349" y="357"/>
                    <a:pt x="312" y="334"/>
                  </a:cubicBezTo>
                  <a:cubicBezTo>
                    <a:pt x="270" y="308"/>
                    <a:pt x="228" y="287"/>
                    <a:pt x="177" y="268"/>
                  </a:cubicBezTo>
                  <a:cubicBezTo>
                    <a:pt x="142" y="255"/>
                    <a:pt x="117" y="247"/>
                    <a:pt x="62" y="251"/>
                  </a:cubicBezTo>
                  <a:cubicBezTo>
                    <a:pt x="48" y="252"/>
                    <a:pt x="41" y="253"/>
                    <a:pt x="28" y="254"/>
                  </a:cubicBezTo>
                  <a:cubicBezTo>
                    <a:pt x="19" y="255"/>
                    <a:pt x="0" y="248"/>
                    <a:pt x="8" y="216"/>
                  </a:cubicBezTo>
                  <a:cubicBezTo>
                    <a:pt x="14" y="193"/>
                    <a:pt x="33" y="132"/>
                    <a:pt x="53" y="8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3690CA69-9D4F-4970-BF1E-CAE709B4DB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8" y="1958"/>
              <a:ext cx="16" cy="15"/>
            </a:xfrm>
            <a:custGeom>
              <a:avLst/>
              <a:gdLst>
                <a:gd name="T0" fmla="*/ 13 w 27"/>
                <a:gd name="T1" fmla="*/ 0 h 25"/>
                <a:gd name="T2" fmla="*/ 13 w 27"/>
                <a:gd name="T3" fmla="*/ 0 h 25"/>
                <a:gd name="T4" fmla="*/ 17 w 27"/>
                <a:gd name="T5" fmla="*/ 9 h 25"/>
                <a:gd name="T6" fmla="*/ 27 w 27"/>
                <a:gd name="T7" fmla="*/ 9 h 25"/>
                <a:gd name="T8" fmla="*/ 19 w 27"/>
                <a:gd name="T9" fmla="*/ 16 h 25"/>
                <a:gd name="T10" fmla="*/ 22 w 27"/>
                <a:gd name="T11" fmla="*/ 25 h 25"/>
                <a:gd name="T12" fmla="*/ 13 w 27"/>
                <a:gd name="T13" fmla="*/ 19 h 25"/>
                <a:gd name="T14" fmla="*/ 5 w 27"/>
                <a:gd name="T15" fmla="*/ 25 h 25"/>
                <a:gd name="T16" fmla="*/ 8 w 27"/>
                <a:gd name="T17" fmla="*/ 16 h 25"/>
                <a:gd name="T18" fmla="*/ 0 w 27"/>
                <a:gd name="T19" fmla="*/ 9 h 25"/>
                <a:gd name="T20" fmla="*/ 10 w 27"/>
                <a:gd name="T21" fmla="*/ 9 h 25"/>
                <a:gd name="T22" fmla="*/ 13 w 27"/>
                <a:gd name="T2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25">
                  <a:moveTo>
                    <a:pt x="13" y="0"/>
                  </a:moveTo>
                  <a:lnTo>
                    <a:pt x="13" y="0"/>
                  </a:lnTo>
                  <a:lnTo>
                    <a:pt x="17" y="9"/>
                  </a:lnTo>
                  <a:lnTo>
                    <a:pt x="27" y="9"/>
                  </a:lnTo>
                  <a:lnTo>
                    <a:pt x="19" y="16"/>
                  </a:lnTo>
                  <a:lnTo>
                    <a:pt x="22" y="25"/>
                  </a:lnTo>
                  <a:lnTo>
                    <a:pt x="13" y="19"/>
                  </a:lnTo>
                  <a:lnTo>
                    <a:pt x="5" y="25"/>
                  </a:lnTo>
                  <a:lnTo>
                    <a:pt x="8" y="16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72D48F54-9635-4C77-AC28-CA921BE0C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5" y="1993"/>
              <a:ext cx="59" cy="55"/>
            </a:xfrm>
            <a:custGeom>
              <a:avLst/>
              <a:gdLst>
                <a:gd name="T0" fmla="*/ 49 w 97"/>
                <a:gd name="T1" fmla="*/ 0 h 92"/>
                <a:gd name="T2" fmla="*/ 49 w 97"/>
                <a:gd name="T3" fmla="*/ 0 h 92"/>
                <a:gd name="T4" fmla="*/ 61 w 97"/>
                <a:gd name="T5" fmla="*/ 34 h 92"/>
                <a:gd name="T6" fmla="*/ 97 w 97"/>
                <a:gd name="T7" fmla="*/ 35 h 92"/>
                <a:gd name="T8" fmla="*/ 68 w 97"/>
                <a:gd name="T9" fmla="*/ 57 h 92"/>
                <a:gd name="T10" fmla="*/ 79 w 97"/>
                <a:gd name="T11" fmla="*/ 92 h 92"/>
                <a:gd name="T12" fmla="*/ 49 w 97"/>
                <a:gd name="T13" fmla="*/ 71 h 92"/>
                <a:gd name="T14" fmla="*/ 19 w 97"/>
                <a:gd name="T15" fmla="*/ 92 h 92"/>
                <a:gd name="T16" fmla="*/ 29 w 97"/>
                <a:gd name="T17" fmla="*/ 57 h 92"/>
                <a:gd name="T18" fmla="*/ 0 w 97"/>
                <a:gd name="T19" fmla="*/ 35 h 92"/>
                <a:gd name="T20" fmla="*/ 37 w 97"/>
                <a:gd name="T21" fmla="*/ 34 h 92"/>
                <a:gd name="T22" fmla="*/ 49 w 97"/>
                <a:gd name="T2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49" y="0"/>
                  </a:moveTo>
                  <a:lnTo>
                    <a:pt x="49" y="0"/>
                  </a:lnTo>
                  <a:lnTo>
                    <a:pt x="61" y="34"/>
                  </a:lnTo>
                  <a:lnTo>
                    <a:pt x="97" y="35"/>
                  </a:lnTo>
                  <a:lnTo>
                    <a:pt x="68" y="57"/>
                  </a:lnTo>
                  <a:lnTo>
                    <a:pt x="79" y="92"/>
                  </a:lnTo>
                  <a:lnTo>
                    <a:pt x="49" y="71"/>
                  </a:lnTo>
                  <a:lnTo>
                    <a:pt x="19" y="92"/>
                  </a:lnTo>
                  <a:lnTo>
                    <a:pt x="29" y="57"/>
                  </a:lnTo>
                  <a:lnTo>
                    <a:pt x="0" y="35"/>
                  </a:lnTo>
                  <a:lnTo>
                    <a:pt x="37" y="34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6F243C72-9C1D-402E-A00E-57CF11FF52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6" y="1966"/>
              <a:ext cx="90" cy="86"/>
            </a:xfrm>
            <a:custGeom>
              <a:avLst/>
              <a:gdLst>
                <a:gd name="T0" fmla="*/ 75 w 150"/>
                <a:gd name="T1" fmla="*/ 0 h 143"/>
                <a:gd name="T2" fmla="*/ 75 w 150"/>
                <a:gd name="T3" fmla="*/ 0 h 143"/>
                <a:gd name="T4" fmla="*/ 94 w 150"/>
                <a:gd name="T5" fmla="*/ 53 h 143"/>
                <a:gd name="T6" fmla="*/ 150 w 150"/>
                <a:gd name="T7" fmla="*/ 54 h 143"/>
                <a:gd name="T8" fmla="*/ 105 w 150"/>
                <a:gd name="T9" fmla="*/ 88 h 143"/>
                <a:gd name="T10" fmla="*/ 122 w 150"/>
                <a:gd name="T11" fmla="*/ 143 h 143"/>
                <a:gd name="T12" fmla="*/ 75 w 150"/>
                <a:gd name="T13" fmla="*/ 110 h 143"/>
                <a:gd name="T14" fmla="*/ 29 w 150"/>
                <a:gd name="T15" fmla="*/ 143 h 143"/>
                <a:gd name="T16" fmla="*/ 45 w 150"/>
                <a:gd name="T17" fmla="*/ 88 h 143"/>
                <a:gd name="T18" fmla="*/ 0 w 150"/>
                <a:gd name="T19" fmla="*/ 54 h 143"/>
                <a:gd name="T20" fmla="*/ 56 w 150"/>
                <a:gd name="T21" fmla="*/ 53 h 143"/>
                <a:gd name="T22" fmla="*/ 75 w 150"/>
                <a:gd name="T23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43">
                  <a:moveTo>
                    <a:pt x="75" y="0"/>
                  </a:moveTo>
                  <a:lnTo>
                    <a:pt x="75" y="0"/>
                  </a:lnTo>
                  <a:lnTo>
                    <a:pt x="94" y="53"/>
                  </a:lnTo>
                  <a:lnTo>
                    <a:pt x="150" y="54"/>
                  </a:lnTo>
                  <a:lnTo>
                    <a:pt x="105" y="88"/>
                  </a:lnTo>
                  <a:lnTo>
                    <a:pt x="122" y="143"/>
                  </a:lnTo>
                  <a:lnTo>
                    <a:pt x="75" y="110"/>
                  </a:lnTo>
                  <a:lnTo>
                    <a:pt x="29" y="143"/>
                  </a:lnTo>
                  <a:lnTo>
                    <a:pt x="45" y="88"/>
                  </a:lnTo>
                  <a:lnTo>
                    <a:pt x="0" y="54"/>
                  </a:lnTo>
                  <a:lnTo>
                    <a:pt x="56" y="5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F062EBA6-B071-4620-BEB7-D6D1691AF6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59" y="2180"/>
              <a:ext cx="45" cy="42"/>
            </a:xfrm>
            <a:custGeom>
              <a:avLst/>
              <a:gdLst>
                <a:gd name="T0" fmla="*/ 37 w 74"/>
                <a:gd name="T1" fmla="*/ 0 h 70"/>
                <a:gd name="T2" fmla="*/ 37 w 74"/>
                <a:gd name="T3" fmla="*/ 0 h 70"/>
                <a:gd name="T4" fmla="*/ 46 w 74"/>
                <a:gd name="T5" fmla="*/ 26 h 70"/>
                <a:gd name="T6" fmla="*/ 74 w 74"/>
                <a:gd name="T7" fmla="*/ 27 h 70"/>
                <a:gd name="T8" fmla="*/ 52 w 74"/>
                <a:gd name="T9" fmla="*/ 44 h 70"/>
                <a:gd name="T10" fmla="*/ 60 w 74"/>
                <a:gd name="T11" fmla="*/ 70 h 70"/>
                <a:gd name="T12" fmla="*/ 37 w 74"/>
                <a:gd name="T13" fmla="*/ 54 h 70"/>
                <a:gd name="T14" fmla="*/ 14 w 74"/>
                <a:gd name="T15" fmla="*/ 70 h 70"/>
                <a:gd name="T16" fmla="*/ 22 w 74"/>
                <a:gd name="T17" fmla="*/ 44 h 70"/>
                <a:gd name="T18" fmla="*/ 0 w 74"/>
                <a:gd name="T19" fmla="*/ 27 h 70"/>
                <a:gd name="T20" fmla="*/ 28 w 74"/>
                <a:gd name="T21" fmla="*/ 26 h 70"/>
                <a:gd name="T22" fmla="*/ 37 w 74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0">
                  <a:moveTo>
                    <a:pt x="37" y="0"/>
                  </a:moveTo>
                  <a:lnTo>
                    <a:pt x="37" y="0"/>
                  </a:lnTo>
                  <a:lnTo>
                    <a:pt x="46" y="26"/>
                  </a:lnTo>
                  <a:lnTo>
                    <a:pt x="74" y="27"/>
                  </a:lnTo>
                  <a:lnTo>
                    <a:pt x="52" y="44"/>
                  </a:lnTo>
                  <a:lnTo>
                    <a:pt x="60" y="70"/>
                  </a:lnTo>
                  <a:lnTo>
                    <a:pt x="37" y="54"/>
                  </a:lnTo>
                  <a:lnTo>
                    <a:pt x="14" y="70"/>
                  </a:lnTo>
                  <a:lnTo>
                    <a:pt x="22" y="44"/>
                  </a:lnTo>
                  <a:lnTo>
                    <a:pt x="0" y="27"/>
                  </a:lnTo>
                  <a:lnTo>
                    <a:pt x="28" y="26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786BDA12-544F-4739-8DF8-9A1DA387A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52" y="2066"/>
              <a:ext cx="187" cy="177"/>
            </a:xfrm>
            <a:custGeom>
              <a:avLst/>
              <a:gdLst>
                <a:gd name="T0" fmla="*/ 156 w 311"/>
                <a:gd name="T1" fmla="*/ 0 h 295"/>
                <a:gd name="T2" fmla="*/ 156 w 311"/>
                <a:gd name="T3" fmla="*/ 0 h 295"/>
                <a:gd name="T4" fmla="*/ 194 w 311"/>
                <a:gd name="T5" fmla="*/ 110 h 295"/>
                <a:gd name="T6" fmla="*/ 311 w 311"/>
                <a:gd name="T7" fmla="*/ 113 h 295"/>
                <a:gd name="T8" fmla="*/ 218 w 311"/>
                <a:gd name="T9" fmla="*/ 183 h 295"/>
                <a:gd name="T10" fmla="*/ 251 w 311"/>
                <a:gd name="T11" fmla="*/ 295 h 295"/>
                <a:gd name="T12" fmla="*/ 156 w 311"/>
                <a:gd name="T13" fmla="*/ 228 h 295"/>
                <a:gd name="T14" fmla="*/ 60 w 311"/>
                <a:gd name="T15" fmla="*/ 295 h 295"/>
                <a:gd name="T16" fmla="*/ 93 w 311"/>
                <a:gd name="T17" fmla="*/ 183 h 295"/>
                <a:gd name="T18" fmla="*/ 0 w 311"/>
                <a:gd name="T19" fmla="*/ 113 h 295"/>
                <a:gd name="T20" fmla="*/ 117 w 311"/>
                <a:gd name="T21" fmla="*/ 110 h 295"/>
                <a:gd name="T22" fmla="*/ 156 w 311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1" h="295">
                  <a:moveTo>
                    <a:pt x="156" y="0"/>
                  </a:moveTo>
                  <a:lnTo>
                    <a:pt x="156" y="0"/>
                  </a:lnTo>
                  <a:lnTo>
                    <a:pt x="194" y="110"/>
                  </a:lnTo>
                  <a:lnTo>
                    <a:pt x="311" y="113"/>
                  </a:lnTo>
                  <a:lnTo>
                    <a:pt x="218" y="183"/>
                  </a:lnTo>
                  <a:lnTo>
                    <a:pt x="251" y="295"/>
                  </a:lnTo>
                  <a:lnTo>
                    <a:pt x="156" y="228"/>
                  </a:lnTo>
                  <a:lnTo>
                    <a:pt x="60" y="295"/>
                  </a:lnTo>
                  <a:lnTo>
                    <a:pt x="93" y="183"/>
                  </a:lnTo>
                  <a:lnTo>
                    <a:pt x="0" y="113"/>
                  </a:lnTo>
                  <a:lnTo>
                    <a:pt x="117" y="110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7165E639-477C-41D1-9FF1-F2C36081E0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098"/>
              <a:ext cx="52" cy="49"/>
            </a:xfrm>
            <a:custGeom>
              <a:avLst/>
              <a:gdLst>
                <a:gd name="T0" fmla="*/ 42 w 85"/>
                <a:gd name="T1" fmla="*/ 0 h 81"/>
                <a:gd name="T2" fmla="*/ 42 w 85"/>
                <a:gd name="T3" fmla="*/ 0 h 81"/>
                <a:gd name="T4" fmla="*/ 53 w 85"/>
                <a:gd name="T5" fmla="*/ 30 h 81"/>
                <a:gd name="T6" fmla="*/ 85 w 85"/>
                <a:gd name="T7" fmla="*/ 31 h 81"/>
                <a:gd name="T8" fmla="*/ 59 w 85"/>
                <a:gd name="T9" fmla="*/ 50 h 81"/>
                <a:gd name="T10" fmla="*/ 69 w 85"/>
                <a:gd name="T11" fmla="*/ 81 h 81"/>
                <a:gd name="T12" fmla="*/ 42 w 85"/>
                <a:gd name="T13" fmla="*/ 62 h 81"/>
                <a:gd name="T14" fmla="*/ 16 w 85"/>
                <a:gd name="T15" fmla="*/ 81 h 81"/>
                <a:gd name="T16" fmla="*/ 25 w 85"/>
                <a:gd name="T17" fmla="*/ 50 h 81"/>
                <a:gd name="T18" fmla="*/ 0 w 85"/>
                <a:gd name="T19" fmla="*/ 31 h 81"/>
                <a:gd name="T20" fmla="*/ 32 w 85"/>
                <a:gd name="T21" fmla="*/ 30 h 81"/>
                <a:gd name="T22" fmla="*/ 42 w 85"/>
                <a:gd name="T2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81">
                  <a:moveTo>
                    <a:pt x="42" y="0"/>
                  </a:moveTo>
                  <a:lnTo>
                    <a:pt x="42" y="0"/>
                  </a:lnTo>
                  <a:lnTo>
                    <a:pt x="53" y="30"/>
                  </a:lnTo>
                  <a:lnTo>
                    <a:pt x="85" y="31"/>
                  </a:lnTo>
                  <a:lnTo>
                    <a:pt x="59" y="50"/>
                  </a:lnTo>
                  <a:lnTo>
                    <a:pt x="69" y="81"/>
                  </a:lnTo>
                  <a:lnTo>
                    <a:pt x="42" y="62"/>
                  </a:lnTo>
                  <a:lnTo>
                    <a:pt x="16" y="81"/>
                  </a:lnTo>
                  <a:lnTo>
                    <a:pt x="25" y="50"/>
                  </a:lnTo>
                  <a:lnTo>
                    <a:pt x="0" y="31"/>
                  </a:lnTo>
                  <a:lnTo>
                    <a:pt x="32" y="3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B9CA2B75-AFD5-45CC-B185-FFA76D277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6" y="2985"/>
              <a:ext cx="214" cy="203"/>
            </a:xfrm>
            <a:custGeom>
              <a:avLst/>
              <a:gdLst>
                <a:gd name="T0" fmla="*/ 73 w 354"/>
                <a:gd name="T1" fmla="*/ 335 h 338"/>
                <a:gd name="T2" fmla="*/ 73 w 354"/>
                <a:gd name="T3" fmla="*/ 335 h 338"/>
                <a:gd name="T4" fmla="*/ 66 w 354"/>
                <a:gd name="T5" fmla="*/ 330 h 338"/>
                <a:gd name="T6" fmla="*/ 105 w 354"/>
                <a:gd name="T7" fmla="*/ 209 h 338"/>
                <a:gd name="T8" fmla="*/ 2 w 354"/>
                <a:gd name="T9" fmla="*/ 134 h 338"/>
                <a:gd name="T10" fmla="*/ 5 w 354"/>
                <a:gd name="T11" fmla="*/ 126 h 338"/>
                <a:gd name="T12" fmla="*/ 133 w 354"/>
                <a:gd name="T13" fmla="*/ 126 h 338"/>
                <a:gd name="T14" fmla="*/ 172 w 354"/>
                <a:gd name="T15" fmla="*/ 4 h 338"/>
                <a:gd name="T16" fmla="*/ 181 w 354"/>
                <a:gd name="T17" fmla="*/ 5 h 338"/>
                <a:gd name="T18" fmla="*/ 220 w 354"/>
                <a:gd name="T19" fmla="*/ 126 h 338"/>
                <a:gd name="T20" fmla="*/ 347 w 354"/>
                <a:gd name="T21" fmla="*/ 126 h 338"/>
                <a:gd name="T22" fmla="*/ 350 w 354"/>
                <a:gd name="T23" fmla="*/ 134 h 338"/>
                <a:gd name="T24" fmla="*/ 289 w 354"/>
                <a:gd name="T25" fmla="*/ 179 h 338"/>
                <a:gd name="T26" fmla="*/ 216 w 354"/>
                <a:gd name="T27" fmla="*/ 179 h 338"/>
                <a:gd name="T28" fmla="*/ 193 w 354"/>
                <a:gd name="T29" fmla="*/ 110 h 338"/>
                <a:gd name="T30" fmla="*/ 171 w 354"/>
                <a:gd name="T31" fmla="*/ 179 h 338"/>
                <a:gd name="T32" fmla="*/ 98 w 354"/>
                <a:gd name="T33" fmla="*/ 179 h 338"/>
                <a:gd name="T34" fmla="*/ 157 w 354"/>
                <a:gd name="T35" fmla="*/ 221 h 338"/>
                <a:gd name="T36" fmla="*/ 135 w 354"/>
                <a:gd name="T37" fmla="*/ 290 h 338"/>
                <a:gd name="T38" fmla="*/ 73 w 354"/>
                <a:gd name="T39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4" h="338">
                  <a:moveTo>
                    <a:pt x="73" y="335"/>
                  </a:moveTo>
                  <a:lnTo>
                    <a:pt x="73" y="335"/>
                  </a:lnTo>
                  <a:cubicBezTo>
                    <a:pt x="70" y="338"/>
                    <a:pt x="65" y="334"/>
                    <a:pt x="66" y="330"/>
                  </a:cubicBezTo>
                  <a:cubicBezTo>
                    <a:pt x="68" y="324"/>
                    <a:pt x="105" y="209"/>
                    <a:pt x="105" y="209"/>
                  </a:cubicBezTo>
                  <a:lnTo>
                    <a:pt x="2" y="134"/>
                  </a:lnTo>
                  <a:cubicBezTo>
                    <a:pt x="0" y="131"/>
                    <a:pt x="1" y="126"/>
                    <a:pt x="5" y="126"/>
                  </a:cubicBezTo>
                  <a:cubicBezTo>
                    <a:pt x="12" y="126"/>
                    <a:pt x="133" y="126"/>
                    <a:pt x="133" y="126"/>
                  </a:cubicBezTo>
                  <a:cubicBezTo>
                    <a:pt x="133" y="126"/>
                    <a:pt x="170" y="11"/>
                    <a:pt x="172" y="4"/>
                  </a:cubicBezTo>
                  <a:cubicBezTo>
                    <a:pt x="173" y="0"/>
                    <a:pt x="179" y="0"/>
                    <a:pt x="181" y="5"/>
                  </a:cubicBezTo>
                  <a:cubicBezTo>
                    <a:pt x="183" y="11"/>
                    <a:pt x="220" y="126"/>
                    <a:pt x="220" y="126"/>
                  </a:cubicBezTo>
                  <a:cubicBezTo>
                    <a:pt x="220" y="126"/>
                    <a:pt x="341" y="126"/>
                    <a:pt x="347" y="126"/>
                  </a:cubicBezTo>
                  <a:cubicBezTo>
                    <a:pt x="352" y="126"/>
                    <a:pt x="354" y="131"/>
                    <a:pt x="350" y="134"/>
                  </a:cubicBezTo>
                  <a:lnTo>
                    <a:pt x="289" y="179"/>
                  </a:lnTo>
                  <a:lnTo>
                    <a:pt x="216" y="179"/>
                  </a:lnTo>
                  <a:lnTo>
                    <a:pt x="193" y="110"/>
                  </a:lnTo>
                  <a:lnTo>
                    <a:pt x="171" y="179"/>
                  </a:lnTo>
                  <a:lnTo>
                    <a:pt x="98" y="179"/>
                  </a:lnTo>
                  <a:lnTo>
                    <a:pt x="157" y="221"/>
                  </a:lnTo>
                  <a:lnTo>
                    <a:pt x="135" y="290"/>
                  </a:lnTo>
                  <a:cubicBezTo>
                    <a:pt x="135" y="290"/>
                    <a:pt x="77" y="332"/>
                    <a:pt x="73" y="335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39214D02-BE52-4D8D-95D0-635BB3D91C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24" y="3126"/>
              <a:ext cx="1194" cy="166"/>
            </a:xfrm>
            <a:custGeom>
              <a:avLst/>
              <a:gdLst>
                <a:gd name="T0" fmla="*/ 1979 w 1979"/>
                <a:gd name="T1" fmla="*/ 10 h 276"/>
                <a:gd name="T2" fmla="*/ 1953 w 1979"/>
                <a:gd name="T3" fmla="*/ 276 h 276"/>
                <a:gd name="T4" fmla="*/ 1809 w 1979"/>
                <a:gd name="T5" fmla="*/ 147 h 276"/>
                <a:gd name="T6" fmla="*/ 1753 w 1979"/>
                <a:gd name="T7" fmla="*/ 0 h 276"/>
                <a:gd name="T8" fmla="*/ 1915 w 1979"/>
                <a:gd name="T9" fmla="*/ 154 h 276"/>
                <a:gd name="T10" fmla="*/ 1979 w 1979"/>
                <a:gd name="T11" fmla="*/ 0 h 276"/>
                <a:gd name="T12" fmla="*/ 912 w 1979"/>
                <a:gd name="T13" fmla="*/ 0 h 276"/>
                <a:gd name="T14" fmla="*/ 852 w 1979"/>
                <a:gd name="T15" fmla="*/ 276 h 276"/>
                <a:gd name="T16" fmla="*/ 754 w 1979"/>
                <a:gd name="T17" fmla="*/ 276 h 276"/>
                <a:gd name="T18" fmla="*/ 734 w 1979"/>
                <a:gd name="T19" fmla="*/ 0 h 276"/>
                <a:gd name="T20" fmla="*/ 857 w 1979"/>
                <a:gd name="T21" fmla="*/ 125 h 276"/>
                <a:gd name="T22" fmla="*/ 912 w 1979"/>
                <a:gd name="T23" fmla="*/ 0 h 276"/>
                <a:gd name="T24" fmla="*/ 151 w 1979"/>
                <a:gd name="T25" fmla="*/ 0 h 276"/>
                <a:gd name="T26" fmla="*/ 86 w 1979"/>
                <a:gd name="T27" fmla="*/ 0 h 276"/>
                <a:gd name="T28" fmla="*/ 11 w 1979"/>
                <a:gd name="T29" fmla="*/ 29 h 276"/>
                <a:gd name="T30" fmla="*/ 86 w 1979"/>
                <a:gd name="T31" fmla="*/ 156 h 276"/>
                <a:gd name="T32" fmla="*/ 225 w 1979"/>
                <a:gd name="T33" fmla="*/ 276 h 276"/>
                <a:gd name="T34" fmla="*/ 466 w 1979"/>
                <a:gd name="T35" fmla="*/ 0 h 276"/>
                <a:gd name="T36" fmla="*/ 300 w 1979"/>
                <a:gd name="T37" fmla="*/ 251 h 276"/>
                <a:gd name="T38" fmla="*/ 481 w 1979"/>
                <a:gd name="T39" fmla="*/ 261 h 276"/>
                <a:gd name="T40" fmla="*/ 374 w 1979"/>
                <a:gd name="T41" fmla="*/ 214 h 276"/>
                <a:gd name="T42" fmla="*/ 459 w 1979"/>
                <a:gd name="T43" fmla="*/ 105 h 276"/>
                <a:gd name="T44" fmla="*/ 481 w 1979"/>
                <a:gd name="T45" fmla="*/ 50 h 276"/>
                <a:gd name="T46" fmla="*/ 622 w 1979"/>
                <a:gd name="T47" fmla="*/ 0 h 276"/>
                <a:gd name="T48" fmla="*/ 548 w 1979"/>
                <a:gd name="T49" fmla="*/ 261 h 276"/>
                <a:gd name="T50" fmla="*/ 622 w 1979"/>
                <a:gd name="T51" fmla="*/ 0 h 276"/>
                <a:gd name="T52" fmla="*/ 1676 w 1979"/>
                <a:gd name="T53" fmla="*/ 0 h 276"/>
                <a:gd name="T54" fmla="*/ 1538 w 1979"/>
                <a:gd name="T55" fmla="*/ 276 h 276"/>
                <a:gd name="T56" fmla="*/ 1691 w 1979"/>
                <a:gd name="T57" fmla="*/ 225 h 276"/>
                <a:gd name="T58" fmla="*/ 1584 w 1979"/>
                <a:gd name="T59" fmla="*/ 156 h 276"/>
                <a:gd name="T60" fmla="*/ 1584 w 1979"/>
                <a:gd name="T61" fmla="*/ 105 h 276"/>
                <a:gd name="T62" fmla="*/ 1691 w 1979"/>
                <a:gd name="T63" fmla="*/ 14 h 276"/>
                <a:gd name="T64" fmla="*/ 1153 w 1979"/>
                <a:gd name="T65" fmla="*/ 0 h 276"/>
                <a:gd name="T66" fmla="*/ 1015 w 1979"/>
                <a:gd name="T67" fmla="*/ 276 h 276"/>
                <a:gd name="T68" fmla="*/ 1168 w 1979"/>
                <a:gd name="T69" fmla="*/ 225 h 276"/>
                <a:gd name="T70" fmla="*/ 1062 w 1979"/>
                <a:gd name="T71" fmla="*/ 156 h 276"/>
                <a:gd name="T72" fmla="*/ 1062 w 1979"/>
                <a:gd name="T73" fmla="*/ 105 h 276"/>
                <a:gd name="T74" fmla="*/ 1168 w 1979"/>
                <a:gd name="T75" fmla="*/ 14 h 276"/>
                <a:gd name="T76" fmla="*/ 1467 w 1979"/>
                <a:gd name="T77" fmla="*/ 0 h 276"/>
                <a:gd name="T78" fmla="*/ 1305 w 1979"/>
                <a:gd name="T79" fmla="*/ 102 h 276"/>
                <a:gd name="T80" fmla="*/ 1231 w 1979"/>
                <a:gd name="T81" fmla="*/ 261 h 276"/>
                <a:gd name="T82" fmla="*/ 1305 w 1979"/>
                <a:gd name="T83" fmla="*/ 150 h 276"/>
                <a:gd name="T84" fmla="*/ 1473 w 1979"/>
                <a:gd name="T85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79" h="276">
                  <a:moveTo>
                    <a:pt x="1979" y="0"/>
                  </a:moveTo>
                  <a:lnTo>
                    <a:pt x="1979" y="0"/>
                  </a:lnTo>
                  <a:lnTo>
                    <a:pt x="1979" y="10"/>
                  </a:lnTo>
                  <a:cubicBezTo>
                    <a:pt x="1979" y="10"/>
                    <a:pt x="1968" y="15"/>
                    <a:pt x="1968" y="29"/>
                  </a:cubicBezTo>
                  <a:lnTo>
                    <a:pt x="1968" y="261"/>
                  </a:lnTo>
                  <a:cubicBezTo>
                    <a:pt x="1968" y="269"/>
                    <a:pt x="1961" y="276"/>
                    <a:pt x="1953" y="276"/>
                  </a:cubicBezTo>
                  <a:lnTo>
                    <a:pt x="1907" y="276"/>
                  </a:lnTo>
                  <a:lnTo>
                    <a:pt x="1807" y="117"/>
                  </a:lnTo>
                  <a:cubicBezTo>
                    <a:pt x="1807" y="117"/>
                    <a:pt x="1809" y="131"/>
                    <a:pt x="1809" y="147"/>
                  </a:cubicBezTo>
                  <a:lnTo>
                    <a:pt x="1809" y="276"/>
                  </a:lnTo>
                  <a:lnTo>
                    <a:pt x="1753" y="276"/>
                  </a:lnTo>
                  <a:lnTo>
                    <a:pt x="1753" y="0"/>
                  </a:lnTo>
                  <a:lnTo>
                    <a:pt x="1789" y="0"/>
                  </a:lnTo>
                  <a:cubicBezTo>
                    <a:pt x="1808" y="0"/>
                    <a:pt x="1821" y="7"/>
                    <a:pt x="1831" y="22"/>
                  </a:cubicBezTo>
                  <a:cubicBezTo>
                    <a:pt x="1839" y="35"/>
                    <a:pt x="1915" y="154"/>
                    <a:pt x="1915" y="154"/>
                  </a:cubicBezTo>
                  <a:cubicBezTo>
                    <a:pt x="1915" y="154"/>
                    <a:pt x="1912" y="146"/>
                    <a:pt x="1912" y="125"/>
                  </a:cubicBezTo>
                  <a:lnTo>
                    <a:pt x="1912" y="0"/>
                  </a:lnTo>
                  <a:lnTo>
                    <a:pt x="1979" y="0"/>
                  </a:lnTo>
                  <a:lnTo>
                    <a:pt x="1979" y="0"/>
                  </a:lnTo>
                  <a:close/>
                  <a:moveTo>
                    <a:pt x="912" y="0"/>
                  </a:moveTo>
                  <a:lnTo>
                    <a:pt x="912" y="0"/>
                  </a:lnTo>
                  <a:lnTo>
                    <a:pt x="912" y="261"/>
                  </a:lnTo>
                  <a:cubicBezTo>
                    <a:pt x="912" y="269"/>
                    <a:pt x="906" y="276"/>
                    <a:pt x="898" y="276"/>
                  </a:cubicBezTo>
                  <a:lnTo>
                    <a:pt x="852" y="276"/>
                  </a:lnTo>
                  <a:lnTo>
                    <a:pt x="752" y="117"/>
                  </a:lnTo>
                  <a:cubicBezTo>
                    <a:pt x="752" y="117"/>
                    <a:pt x="754" y="131"/>
                    <a:pt x="754" y="147"/>
                  </a:cubicBezTo>
                  <a:lnTo>
                    <a:pt x="754" y="276"/>
                  </a:lnTo>
                  <a:lnTo>
                    <a:pt x="698" y="276"/>
                  </a:lnTo>
                  <a:lnTo>
                    <a:pt x="698" y="0"/>
                  </a:lnTo>
                  <a:lnTo>
                    <a:pt x="734" y="0"/>
                  </a:lnTo>
                  <a:cubicBezTo>
                    <a:pt x="753" y="0"/>
                    <a:pt x="766" y="7"/>
                    <a:pt x="776" y="22"/>
                  </a:cubicBezTo>
                  <a:cubicBezTo>
                    <a:pt x="784" y="35"/>
                    <a:pt x="860" y="154"/>
                    <a:pt x="860" y="154"/>
                  </a:cubicBezTo>
                  <a:cubicBezTo>
                    <a:pt x="860" y="154"/>
                    <a:pt x="857" y="146"/>
                    <a:pt x="857" y="125"/>
                  </a:cubicBezTo>
                  <a:lnTo>
                    <a:pt x="857" y="0"/>
                  </a:lnTo>
                  <a:lnTo>
                    <a:pt x="912" y="0"/>
                  </a:lnTo>
                  <a:lnTo>
                    <a:pt x="912" y="0"/>
                  </a:lnTo>
                  <a:close/>
                  <a:moveTo>
                    <a:pt x="225" y="0"/>
                  </a:moveTo>
                  <a:lnTo>
                    <a:pt x="225" y="0"/>
                  </a:lnTo>
                  <a:lnTo>
                    <a:pt x="151" y="0"/>
                  </a:lnTo>
                  <a:lnTo>
                    <a:pt x="151" y="105"/>
                  </a:lnTo>
                  <a:lnTo>
                    <a:pt x="86" y="105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0"/>
                  </a:lnTo>
                  <a:cubicBezTo>
                    <a:pt x="0" y="10"/>
                    <a:pt x="11" y="15"/>
                    <a:pt x="11" y="29"/>
                  </a:cubicBezTo>
                  <a:lnTo>
                    <a:pt x="11" y="276"/>
                  </a:lnTo>
                  <a:lnTo>
                    <a:pt x="86" y="276"/>
                  </a:lnTo>
                  <a:lnTo>
                    <a:pt x="86" y="156"/>
                  </a:lnTo>
                  <a:lnTo>
                    <a:pt x="151" y="156"/>
                  </a:lnTo>
                  <a:lnTo>
                    <a:pt x="151" y="276"/>
                  </a:lnTo>
                  <a:lnTo>
                    <a:pt x="225" y="276"/>
                  </a:lnTo>
                  <a:lnTo>
                    <a:pt x="225" y="0"/>
                  </a:lnTo>
                  <a:lnTo>
                    <a:pt x="225" y="0"/>
                  </a:lnTo>
                  <a:close/>
                  <a:moveTo>
                    <a:pt x="466" y="0"/>
                  </a:moveTo>
                  <a:lnTo>
                    <a:pt x="466" y="0"/>
                  </a:lnTo>
                  <a:lnTo>
                    <a:pt x="300" y="0"/>
                  </a:lnTo>
                  <a:lnTo>
                    <a:pt x="300" y="251"/>
                  </a:lnTo>
                  <a:cubicBezTo>
                    <a:pt x="300" y="265"/>
                    <a:pt x="314" y="276"/>
                    <a:pt x="328" y="276"/>
                  </a:cubicBezTo>
                  <a:lnTo>
                    <a:pt x="466" y="276"/>
                  </a:lnTo>
                  <a:cubicBezTo>
                    <a:pt x="474" y="276"/>
                    <a:pt x="481" y="269"/>
                    <a:pt x="481" y="261"/>
                  </a:cubicBezTo>
                  <a:lnTo>
                    <a:pt x="481" y="225"/>
                  </a:lnTo>
                  <a:lnTo>
                    <a:pt x="386" y="225"/>
                  </a:lnTo>
                  <a:cubicBezTo>
                    <a:pt x="379" y="225"/>
                    <a:pt x="374" y="220"/>
                    <a:pt x="374" y="214"/>
                  </a:cubicBezTo>
                  <a:lnTo>
                    <a:pt x="374" y="156"/>
                  </a:lnTo>
                  <a:lnTo>
                    <a:pt x="459" y="156"/>
                  </a:lnTo>
                  <a:lnTo>
                    <a:pt x="459" y="105"/>
                  </a:lnTo>
                  <a:lnTo>
                    <a:pt x="374" y="105"/>
                  </a:lnTo>
                  <a:lnTo>
                    <a:pt x="374" y="50"/>
                  </a:lnTo>
                  <a:lnTo>
                    <a:pt x="481" y="50"/>
                  </a:lnTo>
                  <a:lnTo>
                    <a:pt x="481" y="14"/>
                  </a:lnTo>
                  <a:cubicBezTo>
                    <a:pt x="481" y="6"/>
                    <a:pt x="474" y="0"/>
                    <a:pt x="466" y="0"/>
                  </a:cubicBezTo>
                  <a:close/>
                  <a:moveTo>
                    <a:pt x="622" y="0"/>
                  </a:moveTo>
                  <a:lnTo>
                    <a:pt x="622" y="0"/>
                  </a:lnTo>
                  <a:lnTo>
                    <a:pt x="548" y="0"/>
                  </a:lnTo>
                  <a:lnTo>
                    <a:pt x="548" y="261"/>
                  </a:lnTo>
                  <a:cubicBezTo>
                    <a:pt x="548" y="269"/>
                    <a:pt x="555" y="276"/>
                    <a:pt x="563" y="276"/>
                  </a:cubicBezTo>
                  <a:lnTo>
                    <a:pt x="622" y="276"/>
                  </a:lnTo>
                  <a:lnTo>
                    <a:pt x="622" y="0"/>
                  </a:lnTo>
                  <a:lnTo>
                    <a:pt x="622" y="0"/>
                  </a:lnTo>
                  <a:close/>
                  <a:moveTo>
                    <a:pt x="1676" y="0"/>
                  </a:moveTo>
                  <a:lnTo>
                    <a:pt x="1676" y="0"/>
                  </a:lnTo>
                  <a:lnTo>
                    <a:pt x="1510" y="0"/>
                  </a:lnTo>
                  <a:lnTo>
                    <a:pt x="1510" y="251"/>
                  </a:lnTo>
                  <a:cubicBezTo>
                    <a:pt x="1510" y="265"/>
                    <a:pt x="1524" y="276"/>
                    <a:pt x="1538" y="276"/>
                  </a:cubicBezTo>
                  <a:lnTo>
                    <a:pt x="1676" y="276"/>
                  </a:lnTo>
                  <a:cubicBezTo>
                    <a:pt x="1684" y="276"/>
                    <a:pt x="1691" y="269"/>
                    <a:pt x="1691" y="261"/>
                  </a:cubicBezTo>
                  <a:lnTo>
                    <a:pt x="1691" y="225"/>
                  </a:lnTo>
                  <a:lnTo>
                    <a:pt x="1596" y="225"/>
                  </a:lnTo>
                  <a:cubicBezTo>
                    <a:pt x="1589" y="225"/>
                    <a:pt x="1584" y="220"/>
                    <a:pt x="1584" y="214"/>
                  </a:cubicBezTo>
                  <a:lnTo>
                    <a:pt x="1584" y="156"/>
                  </a:lnTo>
                  <a:lnTo>
                    <a:pt x="1669" y="156"/>
                  </a:lnTo>
                  <a:lnTo>
                    <a:pt x="1669" y="105"/>
                  </a:lnTo>
                  <a:lnTo>
                    <a:pt x="1584" y="105"/>
                  </a:lnTo>
                  <a:lnTo>
                    <a:pt x="1584" y="50"/>
                  </a:lnTo>
                  <a:lnTo>
                    <a:pt x="1691" y="50"/>
                  </a:lnTo>
                  <a:lnTo>
                    <a:pt x="1691" y="14"/>
                  </a:lnTo>
                  <a:cubicBezTo>
                    <a:pt x="1691" y="6"/>
                    <a:pt x="1684" y="0"/>
                    <a:pt x="1676" y="0"/>
                  </a:cubicBezTo>
                  <a:close/>
                  <a:moveTo>
                    <a:pt x="1153" y="0"/>
                  </a:moveTo>
                  <a:lnTo>
                    <a:pt x="1153" y="0"/>
                  </a:lnTo>
                  <a:lnTo>
                    <a:pt x="987" y="0"/>
                  </a:lnTo>
                  <a:lnTo>
                    <a:pt x="987" y="251"/>
                  </a:lnTo>
                  <a:cubicBezTo>
                    <a:pt x="987" y="265"/>
                    <a:pt x="1001" y="276"/>
                    <a:pt x="1015" y="276"/>
                  </a:cubicBezTo>
                  <a:lnTo>
                    <a:pt x="1153" y="276"/>
                  </a:lnTo>
                  <a:cubicBezTo>
                    <a:pt x="1161" y="276"/>
                    <a:pt x="1168" y="269"/>
                    <a:pt x="1168" y="261"/>
                  </a:cubicBezTo>
                  <a:lnTo>
                    <a:pt x="1168" y="225"/>
                  </a:lnTo>
                  <a:lnTo>
                    <a:pt x="1073" y="225"/>
                  </a:lnTo>
                  <a:cubicBezTo>
                    <a:pt x="1067" y="225"/>
                    <a:pt x="1062" y="220"/>
                    <a:pt x="1062" y="214"/>
                  </a:cubicBezTo>
                  <a:lnTo>
                    <a:pt x="1062" y="156"/>
                  </a:lnTo>
                  <a:lnTo>
                    <a:pt x="1146" y="156"/>
                  </a:lnTo>
                  <a:lnTo>
                    <a:pt x="1146" y="105"/>
                  </a:lnTo>
                  <a:lnTo>
                    <a:pt x="1062" y="105"/>
                  </a:lnTo>
                  <a:lnTo>
                    <a:pt x="1062" y="50"/>
                  </a:lnTo>
                  <a:lnTo>
                    <a:pt x="1168" y="50"/>
                  </a:lnTo>
                  <a:lnTo>
                    <a:pt x="1168" y="14"/>
                  </a:lnTo>
                  <a:cubicBezTo>
                    <a:pt x="1168" y="6"/>
                    <a:pt x="1161" y="0"/>
                    <a:pt x="1153" y="0"/>
                  </a:cubicBezTo>
                  <a:close/>
                  <a:moveTo>
                    <a:pt x="1467" y="0"/>
                  </a:moveTo>
                  <a:lnTo>
                    <a:pt x="1467" y="0"/>
                  </a:lnTo>
                  <a:lnTo>
                    <a:pt x="1414" y="0"/>
                  </a:lnTo>
                  <a:cubicBezTo>
                    <a:pt x="1401" y="0"/>
                    <a:pt x="1391" y="3"/>
                    <a:pt x="1381" y="15"/>
                  </a:cubicBezTo>
                  <a:cubicBezTo>
                    <a:pt x="1370" y="26"/>
                    <a:pt x="1305" y="102"/>
                    <a:pt x="1305" y="102"/>
                  </a:cubicBezTo>
                  <a:lnTo>
                    <a:pt x="1305" y="0"/>
                  </a:lnTo>
                  <a:lnTo>
                    <a:pt x="1231" y="0"/>
                  </a:lnTo>
                  <a:lnTo>
                    <a:pt x="1231" y="261"/>
                  </a:lnTo>
                  <a:cubicBezTo>
                    <a:pt x="1231" y="269"/>
                    <a:pt x="1237" y="276"/>
                    <a:pt x="1245" y="276"/>
                  </a:cubicBezTo>
                  <a:lnTo>
                    <a:pt x="1305" y="276"/>
                  </a:lnTo>
                  <a:lnTo>
                    <a:pt x="1305" y="150"/>
                  </a:lnTo>
                  <a:cubicBezTo>
                    <a:pt x="1305" y="150"/>
                    <a:pt x="1361" y="238"/>
                    <a:pt x="1370" y="253"/>
                  </a:cubicBezTo>
                  <a:cubicBezTo>
                    <a:pt x="1380" y="268"/>
                    <a:pt x="1390" y="276"/>
                    <a:pt x="1412" y="276"/>
                  </a:cubicBezTo>
                  <a:lnTo>
                    <a:pt x="1473" y="276"/>
                  </a:lnTo>
                  <a:lnTo>
                    <a:pt x="1369" y="113"/>
                  </a:lnTo>
                  <a:lnTo>
                    <a:pt x="14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572917E8-0B37-45EA-9D28-B026CFDB5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31" y="3689"/>
              <a:ext cx="68" cy="114"/>
            </a:xfrm>
            <a:custGeom>
              <a:avLst/>
              <a:gdLst>
                <a:gd name="T0" fmla="*/ 25 w 113"/>
                <a:gd name="T1" fmla="*/ 98 h 190"/>
                <a:gd name="T2" fmla="*/ 25 w 113"/>
                <a:gd name="T3" fmla="*/ 98 h 190"/>
                <a:gd name="T4" fmla="*/ 42 w 113"/>
                <a:gd name="T5" fmla="*/ 98 h 190"/>
                <a:gd name="T6" fmla="*/ 87 w 113"/>
                <a:gd name="T7" fmla="*/ 58 h 190"/>
                <a:gd name="T8" fmla="*/ 40 w 113"/>
                <a:gd name="T9" fmla="*/ 19 h 190"/>
                <a:gd name="T10" fmla="*/ 25 w 113"/>
                <a:gd name="T11" fmla="*/ 19 h 190"/>
                <a:gd name="T12" fmla="*/ 25 w 113"/>
                <a:gd name="T13" fmla="*/ 98 h 190"/>
                <a:gd name="T14" fmla="*/ 25 w 113"/>
                <a:gd name="T15" fmla="*/ 98 h 190"/>
                <a:gd name="T16" fmla="*/ 42 w 113"/>
                <a:gd name="T17" fmla="*/ 118 h 190"/>
                <a:gd name="T18" fmla="*/ 42 w 113"/>
                <a:gd name="T19" fmla="*/ 118 h 190"/>
                <a:gd name="T20" fmla="*/ 25 w 113"/>
                <a:gd name="T21" fmla="*/ 118 h 190"/>
                <a:gd name="T22" fmla="*/ 25 w 113"/>
                <a:gd name="T23" fmla="*/ 184 h 190"/>
                <a:gd name="T24" fmla="*/ 20 w 113"/>
                <a:gd name="T25" fmla="*/ 190 h 190"/>
                <a:gd name="T26" fmla="*/ 5 w 113"/>
                <a:gd name="T27" fmla="*/ 190 h 190"/>
                <a:gd name="T28" fmla="*/ 0 w 113"/>
                <a:gd name="T29" fmla="*/ 184 h 190"/>
                <a:gd name="T30" fmla="*/ 0 w 113"/>
                <a:gd name="T31" fmla="*/ 6 h 190"/>
                <a:gd name="T32" fmla="*/ 5 w 113"/>
                <a:gd name="T33" fmla="*/ 0 h 190"/>
                <a:gd name="T34" fmla="*/ 41 w 113"/>
                <a:gd name="T35" fmla="*/ 0 h 190"/>
                <a:gd name="T36" fmla="*/ 113 w 113"/>
                <a:gd name="T37" fmla="*/ 58 h 190"/>
                <a:gd name="T38" fmla="*/ 42 w 113"/>
                <a:gd name="T39" fmla="*/ 11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3" h="190">
                  <a:moveTo>
                    <a:pt x="25" y="98"/>
                  </a:moveTo>
                  <a:lnTo>
                    <a:pt x="25" y="98"/>
                  </a:lnTo>
                  <a:lnTo>
                    <a:pt x="42" y="98"/>
                  </a:lnTo>
                  <a:cubicBezTo>
                    <a:pt x="69" y="98"/>
                    <a:pt x="87" y="89"/>
                    <a:pt x="87" y="58"/>
                  </a:cubicBezTo>
                  <a:cubicBezTo>
                    <a:pt x="87" y="28"/>
                    <a:pt x="67" y="19"/>
                    <a:pt x="40" y="19"/>
                  </a:cubicBezTo>
                  <a:lnTo>
                    <a:pt x="25" y="19"/>
                  </a:lnTo>
                  <a:lnTo>
                    <a:pt x="25" y="98"/>
                  </a:lnTo>
                  <a:lnTo>
                    <a:pt x="25" y="98"/>
                  </a:lnTo>
                  <a:close/>
                  <a:moveTo>
                    <a:pt x="42" y="118"/>
                  </a:moveTo>
                  <a:lnTo>
                    <a:pt x="42" y="118"/>
                  </a:lnTo>
                  <a:lnTo>
                    <a:pt x="25" y="118"/>
                  </a:lnTo>
                  <a:lnTo>
                    <a:pt x="25" y="184"/>
                  </a:lnTo>
                  <a:cubicBezTo>
                    <a:pt x="25" y="188"/>
                    <a:pt x="24" y="190"/>
                    <a:pt x="20" y="190"/>
                  </a:cubicBezTo>
                  <a:lnTo>
                    <a:pt x="5" y="190"/>
                  </a:lnTo>
                  <a:cubicBezTo>
                    <a:pt x="1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41" y="0"/>
                  </a:lnTo>
                  <a:cubicBezTo>
                    <a:pt x="82" y="0"/>
                    <a:pt x="113" y="15"/>
                    <a:pt x="113" y="58"/>
                  </a:cubicBezTo>
                  <a:cubicBezTo>
                    <a:pt x="113" y="100"/>
                    <a:pt x="83" y="118"/>
                    <a:pt x="42" y="11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D1F2941F-9C26-4BFD-9553-115FCA1057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26" y="3689"/>
              <a:ext cx="74" cy="114"/>
            </a:xfrm>
            <a:custGeom>
              <a:avLst/>
              <a:gdLst>
                <a:gd name="T0" fmla="*/ 25 w 123"/>
                <a:gd name="T1" fmla="*/ 93 h 190"/>
                <a:gd name="T2" fmla="*/ 25 w 123"/>
                <a:gd name="T3" fmla="*/ 93 h 190"/>
                <a:gd name="T4" fmla="*/ 46 w 123"/>
                <a:gd name="T5" fmla="*/ 93 h 190"/>
                <a:gd name="T6" fmla="*/ 88 w 123"/>
                <a:gd name="T7" fmla="*/ 56 h 190"/>
                <a:gd name="T8" fmla="*/ 43 w 123"/>
                <a:gd name="T9" fmla="*/ 19 h 190"/>
                <a:gd name="T10" fmla="*/ 25 w 123"/>
                <a:gd name="T11" fmla="*/ 19 h 190"/>
                <a:gd name="T12" fmla="*/ 25 w 123"/>
                <a:gd name="T13" fmla="*/ 93 h 190"/>
                <a:gd name="T14" fmla="*/ 25 w 123"/>
                <a:gd name="T15" fmla="*/ 93 h 190"/>
                <a:gd name="T16" fmla="*/ 25 w 123"/>
                <a:gd name="T17" fmla="*/ 184 h 190"/>
                <a:gd name="T18" fmla="*/ 25 w 123"/>
                <a:gd name="T19" fmla="*/ 184 h 190"/>
                <a:gd name="T20" fmla="*/ 20 w 123"/>
                <a:gd name="T21" fmla="*/ 190 h 190"/>
                <a:gd name="T22" fmla="*/ 5 w 123"/>
                <a:gd name="T23" fmla="*/ 190 h 190"/>
                <a:gd name="T24" fmla="*/ 0 w 123"/>
                <a:gd name="T25" fmla="*/ 184 h 190"/>
                <a:gd name="T26" fmla="*/ 0 w 123"/>
                <a:gd name="T27" fmla="*/ 6 h 190"/>
                <a:gd name="T28" fmla="*/ 5 w 123"/>
                <a:gd name="T29" fmla="*/ 0 h 190"/>
                <a:gd name="T30" fmla="*/ 45 w 123"/>
                <a:gd name="T31" fmla="*/ 0 h 190"/>
                <a:gd name="T32" fmla="*/ 114 w 123"/>
                <a:gd name="T33" fmla="*/ 55 h 190"/>
                <a:gd name="T34" fmla="*/ 76 w 123"/>
                <a:gd name="T35" fmla="*/ 108 h 190"/>
                <a:gd name="T36" fmla="*/ 121 w 123"/>
                <a:gd name="T37" fmla="*/ 184 h 190"/>
                <a:gd name="T38" fmla="*/ 117 w 123"/>
                <a:gd name="T39" fmla="*/ 190 h 190"/>
                <a:gd name="T40" fmla="*/ 102 w 123"/>
                <a:gd name="T41" fmla="*/ 190 h 190"/>
                <a:gd name="T42" fmla="*/ 93 w 123"/>
                <a:gd name="T43" fmla="*/ 185 h 190"/>
                <a:gd name="T44" fmla="*/ 52 w 123"/>
                <a:gd name="T45" fmla="*/ 113 h 190"/>
                <a:gd name="T46" fmla="*/ 25 w 123"/>
                <a:gd name="T47" fmla="*/ 113 h 190"/>
                <a:gd name="T48" fmla="*/ 25 w 123"/>
                <a:gd name="T49" fmla="*/ 18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90">
                  <a:moveTo>
                    <a:pt x="25" y="93"/>
                  </a:moveTo>
                  <a:lnTo>
                    <a:pt x="25" y="93"/>
                  </a:lnTo>
                  <a:lnTo>
                    <a:pt x="46" y="93"/>
                  </a:lnTo>
                  <a:cubicBezTo>
                    <a:pt x="71" y="93"/>
                    <a:pt x="88" y="80"/>
                    <a:pt x="88" y="56"/>
                  </a:cubicBezTo>
                  <a:cubicBezTo>
                    <a:pt x="88" y="29"/>
                    <a:pt x="71" y="19"/>
                    <a:pt x="43" y="19"/>
                  </a:cubicBezTo>
                  <a:lnTo>
                    <a:pt x="25" y="19"/>
                  </a:lnTo>
                  <a:lnTo>
                    <a:pt x="25" y="93"/>
                  </a:lnTo>
                  <a:lnTo>
                    <a:pt x="25" y="93"/>
                  </a:lnTo>
                  <a:close/>
                  <a:moveTo>
                    <a:pt x="25" y="184"/>
                  </a:moveTo>
                  <a:lnTo>
                    <a:pt x="25" y="184"/>
                  </a:lnTo>
                  <a:cubicBezTo>
                    <a:pt x="25" y="188"/>
                    <a:pt x="24" y="190"/>
                    <a:pt x="20" y="190"/>
                  </a:cubicBezTo>
                  <a:lnTo>
                    <a:pt x="5" y="190"/>
                  </a:lnTo>
                  <a:cubicBezTo>
                    <a:pt x="1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45" y="0"/>
                  </a:lnTo>
                  <a:cubicBezTo>
                    <a:pt x="86" y="0"/>
                    <a:pt x="114" y="14"/>
                    <a:pt x="114" y="55"/>
                  </a:cubicBezTo>
                  <a:cubicBezTo>
                    <a:pt x="114" y="82"/>
                    <a:pt x="97" y="101"/>
                    <a:pt x="76" y="108"/>
                  </a:cubicBezTo>
                  <a:lnTo>
                    <a:pt x="121" y="184"/>
                  </a:lnTo>
                  <a:cubicBezTo>
                    <a:pt x="123" y="186"/>
                    <a:pt x="122" y="190"/>
                    <a:pt x="117" y="190"/>
                  </a:cubicBezTo>
                  <a:lnTo>
                    <a:pt x="102" y="190"/>
                  </a:lnTo>
                  <a:cubicBezTo>
                    <a:pt x="97" y="190"/>
                    <a:pt x="95" y="188"/>
                    <a:pt x="93" y="185"/>
                  </a:cubicBezTo>
                  <a:lnTo>
                    <a:pt x="52" y="113"/>
                  </a:lnTo>
                  <a:lnTo>
                    <a:pt x="25" y="113"/>
                  </a:lnTo>
                  <a:lnTo>
                    <a:pt x="25" y="1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79B43050-94E8-453F-83A0-46395BF26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20" y="3687"/>
              <a:ext cx="96" cy="118"/>
            </a:xfrm>
            <a:custGeom>
              <a:avLst/>
              <a:gdLst>
                <a:gd name="T0" fmla="*/ 80 w 159"/>
                <a:gd name="T1" fmla="*/ 22 h 197"/>
                <a:gd name="T2" fmla="*/ 80 w 159"/>
                <a:gd name="T3" fmla="*/ 22 h 197"/>
                <a:gd name="T4" fmla="*/ 27 w 159"/>
                <a:gd name="T5" fmla="*/ 99 h 197"/>
                <a:gd name="T6" fmla="*/ 79 w 159"/>
                <a:gd name="T7" fmla="*/ 176 h 197"/>
                <a:gd name="T8" fmla="*/ 132 w 159"/>
                <a:gd name="T9" fmla="*/ 98 h 197"/>
                <a:gd name="T10" fmla="*/ 80 w 159"/>
                <a:gd name="T11" fmla="*/ 22 h 197"/>
                <a:gd name="T12" fmla="*/ 80 w 159"/>
                <a:gd name="T13" fmla="*/ 22 h 197"/>
                <a:gd name="T14" fmla="*/ 78 w 159"/>
                <a:gd name="T15" fmla="*/ 197 h 197"/>
                <a:gd name="T16" fmla="*/ 78 w 159"/>
                <a:gd name="T17" fmla="*/ 197 h 197"/>
                <a:gd name="T18" fmla="*/ 0 w 159"/>
                <a:gd name="T19" fmla="*/ 99 h 197"/>
                <a:gd name="T20" fmla="*/ 81 w 159"/>
                <a:gd name="T21" fmla="*/ 0 h 197"/>
                <a:gd name="T22" fmla="*/ 159 w 159"/>
                <a:gd name="T23" fmla="*/ 97 h 197"/>
                <a:gd name="T24" fmla="*/ 78 w 159"/>
                <a:gd name="T2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197">
                  <a:moveTo>
                    <a:pt x="80" y="22"/>
                  </a:moveTo>
                  <a:lnTo>
                    <a:pt x="80" y="22"/>
                  </a:lnTo>
                  <a:cubicBezTo>
                    <a:pt x="49" y="22"/>
                    <a:pt x="27" y="53"/>
                    <a:pt x="27" y="99"/>
                  </a:cubicBezTo>
                  <a:cubicBezTo>
                    <a:pt x="27" y="147"/>
                    <a:pt x="46" y="176"/>
                    <a:pt x="79" y="176"/>
                  </a:cubicBezTo>
                  <a:cubicBezTo>
                    <a:pt x="111" y="176"/>
                    <a:pt x="132" y="146"/>
                    <a:pt x="132" y="98"/>
                  </a:cubicBezTo>
                  <a:cubicBezTo>
                    <a:pt x="132" y="50"/>
                    <a:pt x="114" y="22"/>
                    <a:pt x="80" y="22"/>
                  </a:cubicBezTo>
                  <a:lnTo>
                    <a:pt x="80" y="22"/>
                  </a:lnTo>
                  <a:close/>
                  <a:moveTo>
                    <a:pt x="78" y="197"/>
                  </a:moveTo>
                  <a:lnTo>
                    <a:pt x="78" y="197"/>
                  </a:lnTo>
                  <a:cubicBezTo>
                    <a:pt x="29" y="197"/>
                    <a:pt x="0" y="160"/>
                    <a:pt x="0" y="99"/>
                  </a:cubicBezTo>
                  <a:cubicBezTo>
                    <a:pt x="0" y="40"/>
                    <a:pt x="33" y="0"/>
                    <a:pt x="81" y="0"/>
                  </a:cubicBezTo>
                  <a:cubicBezTo>
                    <a:pt x="132" y="0"/>
                    <a:pt x="159" y="40"/>
                    <a:pt x="159" y="97"/>
                  </a:cubicBezTo>
                  <a:cubicBezTo>
                    <a:pt x="159" y="160"/>
                    <a:pt x="124" y="197"/>
                    <a:pt x="78" y="19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18630B01-C667-44EA-9A1D-E25FFE872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40" y="3687"/>
              <a:ext cx="87" cy="118"/>
            </a:xfrm>
            <a:custGeom>
              <a:avLst/>
              <a:gdLst>
                <a:gd name="T0" fmla="*/ 131 w 143"/>
                <a:gd name="T1" fmla="*/ 166 h 197"/>
                <a:gd name="T2" fmla="*/ 131 w 143"/>
                <a:gd name="T3" fmla="*/ 166 h 197"/>
                <a:gd name="T4" fmla="*/ 138 w 143"/>
                <a:gd name="T5" fmla="*/ 169 h 197"/>
                <a:gd name="T6" fmla="*/ 141 w 143"/>
                <a:gd name="T7" fmla="*/ 177 h 197"/>
                <a:gd name="T8" fmla="*/ 138 w 143"/>
                <a:gd name="T9" fmla="*/ 185 h 197"/>
                <a:gd name="T10" fmla="*/ 85 w 143"/>
                <a:gd name="T11" fmla="*/ 197 h 197"/>
                <a:gd name="T12" fmla="*/ 0 w 143"/>
                <a:gd name="T13" fmla="*/ 99 h 197"/>
                <a:gd name="T14" fmla="*/ 87 w 143"/>
                <a:gd name="T15" fmla="*/ 0 h 197"/>
                <a:gd name="T16" fmla="*/ 138 w 143"/>
                <a:gd name="T17" fmla="*/ 13 h 197"/>
                <a:gd name="T18" fmla="*/ 140 w 143"/>
                <a:gd name="T19" fmla="*/ 20 h 197"/>
                <a:gd name="T20" fmla="*/ 135 w 143"/>
                <a:gd name="T21" fmla="*/ 30 h 197"/>
                <a:gd name="T22" fmla="*/ 129 w 143"/>
                <a:gd name="T23" fmla="*/ 32 h 197"/>
                <a:gd name="T24" fmla="*/ 89 w 143"/>
                <a:gd name="T25" fmla="*/ 21 h 197"/>
                <a:gd name="T26" fmla="*/ 28 w 143"/>
                <a:gd name="T27" fmla="*/ 97 h 197"/>
                <a:gd name="T28" fmla="*/ 89 w 143"/>
                <a:gd name="T29" fmla="*/ 176 h 197"/>
                <a:gd name="T30" fmla="*/ 131 w 143"/>
                <a:gd name="T31" fmla="*/ 16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3" h="197">
                  <a:moveTo>
                    <a:pt x="131" y="166"/>
                  </a:moveTo>
                  <a:lnTo>
                    <a:pt x="131" y="166"/>
                  </a:lnTo>
                  <a:cubicBezTo>
                    <a:pt x="135" y="165"/>
                    <a:pt x="137" y="165"/>
                    <a:pt x="138" y="169"/>
                  </a:cubicBezTo>
                  <a:lnTo>
                    <a:pt x="141" y="177"/>
                  </a:lnTo>
                  <a:cubicBezTo>
                    <a:pt x="143" y="181"/>
                    <a:pt x="142" y="183"/>
                    <a:pt x="138" y="185"/>
                  </a:cubicBezTo>
                  <a:cubicBezTo>
                    <a:pt x="121" y="193"/>
                    <a:pt x="104" y="197"/>
                    <a:pt x="85" y="197"/>
                  </a:cubicBezTo>
                  <a:cubicBezTo>
                    <a:pt x="27" y="197"/>
                    <a:pt x="0" y="153"/>
                    <a:pt x="0" y="99"/>
                  </a:cubicBezTo>
                  <a:cubicBezTo>
                    <a:pt x="0" y="46"/>
                    <a:pt x="32" y="0"/>
                    <a:pt x="87" y="0"/>
                  </a:cubicBezTo>
                  <a:cubicBezTo>
                    <a:pt x="105" y="0"/>
                    <a:pt x="122" y="4"/>
                    <a:pt x="138" y="13"/>
                  </a:cubicBezTo>
                  <a:cubicBezTo>
                    <a:pt x="141" y="14"/>
                    <a:pt x="142" y="17"/>
                    <a:pt x="140" y="20"/>
                  </a:cubicBezTo>
                  <a:lnTo>
                    <a:pt x="135" y="30"/>
                  </a:lnTo>
                  <a:cubicBezTo>
                    <a:pt x="134" y="32"/>
                    <a:pt x="132" y="33"/>
                    <a:pt x="129" y="32"/>
                  </a:cubicBezTo>
                  <a:cubicBezTo>
                    <a:pt x="115" y="24"/>
                    <a:pt x="103" y="21"/>
                    <a:pt x="89" y="21"/>
                  </a:cubicBezTo>
                  <a:cubicBezTo>
                    <a:pt x="47" y="21"/>
                    <a:pt x="28" y="59"/>
                    <a:pt x="28" y="97"/>
                  </a:cubicBezTo>
                  <a:cubicBezTo>
                    <a:pt x="28" y="139"/>
                    <a:pt x="46" y="176"/>
                    <a:pt x="89" y="176"/>
                  </a:cubicBezTo>
                  <a:cubicBezTo>
                    <a:pt x="103" y="176"/>
                    <a:pt x="118" y="173"/>
                    <a:pt x="131" y="16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C8C69E96-3F22-49FB-9403-42A0671EE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1" y="3689"/>
              <a:ext cx="91" cy="116"/>
            </a:xfrm>
            <a:custGeom>
              <a:avLst/>
              <a:gdLst>
                <a:gd name="T0" fmla="*/ 151 w 151"/>
                <a:gd name="T1" fmla="*/ 107 h 193"/>
                <a:gd name="T2" fmla="*/ 151 w 151"/>
                <a:gd name="T3" fmla="*/ 107 h 193"/>
                <a:gd name="T4" fmla="*/ 76 w 151"/>
                <a:gd name="T5" fmla="*/ 193 h 193"/>
                <a:gd name="T6" fmla="*/ 0 w 151"/>
                <a:gd name="T7" fmla="*/ 105 h 193"/>
                <a:gd name="T8" fmla="*/ 0 w 151"/>
                <a:gd name="T9" fmla="*/ 5 h 193"/>
                <a:gd name="T10" fmla="*/ 5 w 151"/>
                <a:gd name="T11" fmla="*/ 0 h 193"/>
                <a:gd name="T12" fmla="*/ 20 w 151"/>
                <a:gd name="T13" fmla="*/ 0 h 193"/>
                <a:gd name="T14" fmla="*/ 25 w 151"/>
                <a:gd name="T15" fmla="*/ 5 h 193"/>
                <a:gd name="T16" fmla="*/ 25 w 151"/>
                <a:gd name="T17" fmla="*/ 103 h 193"/>
                <a:gd name="T18" fmla="*/ 76 w 151"/>
                <a:gd name="T19" fmla="*/ 171 h 193"/>
                <a:gd name="T20" fmla="*/ 126 w 151"/>
                <a:gd name="T21" fmla="*/ 102 h 193"/>
                <a:gd name="T22" fmla="*/ 126 w 151"/>
                <a:gd name="T23" fmla="*/ 5 h 193"/>
                <a:gd name="T24" fmla="*/ 131 w 151"/>
                <a:gd name="T25" fmla="*/ 0 h 193"/>
                <a:gd name="T26" fmla="*/ 146 w 151"/>
                <a:gd name="T27" fmla="*/ 0 h 193"/>
                <a:gd name="T28" fmla="*/ 151 w 151"/>
                <a:gd name="T29" fmla="*/ 5 h 193"/>
                <a:gd name="T30" fmla="*/ 151 w 151"/>
                <a:gd name="T31" fmla="*/ 10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1" h="193">
                  <a:moveTo>
                    <a:pt x="151" y="107"/>
                  </a:moveTo>
                  <a:lnTo>
                    <a:pt x="151" y="107"/>
                  </a:lnTo>
                  <a:cubicBezTo>
                    <a:pt x="151" y="157"/>
                    <a:pt x="130" y="193"/>
                    <a:pt x="76" y="193"/>
                  </a:cubicBezTo>
                  <a:cubicBezTo>
                    <a:pt x="16" y="193"/>
                    <a:pt x="0" y="159"/>
                    <a:pt x="0" y="105"/>
                  </a:cubicBezTo>
                  <a:lnTo>
                    <a:pt x="0" y="5"/>
                  </a:lnTo>
                  <a:cubicBezTo>
                    <a:pt x="0" y="2"/>
                    <a:pt x="1" y="0"/>
                    <a:pt x="5" y="0"/>
                  </a:cubicBezTo>
                  <a:lnTo>
                    <a:pt x="20" y="0"/>
                  </a:lnTo>
                  <a:cubicBezTo>
                    <a:pt x="24" y="0"/>
                    <a:pt x="25" y="1"/>
                    <a:pt x="25" y="5"/>
                  </a:cubicBezTo>
                  <a:lnTo>
                    <a:pt x="25" y="103"/>
                  </a:lnTo>
                  <a:cubicBezTo>
                    <a:pt x="25" y="140"/>
                    <a:pt x="30" y="171"/>
                    <a:pt x="76" y="171"/>
                  </a:cubicBezTo>
                  <a:cubicBezTo>
                    <a:pt x="120" y="171"/>
                    <a:pt x="126" y="138"/>
                    <a:pt x="126" y="102"/>
                  </a:cubicBezTo>
                  <a:lnTo>
                    <a:pt x="126" y="5"/>
                  </a:lnTo>
                  <a:cubicBezTo>
                    <a:pt x="126" y="2"/>
                    <a:pt x="127" y="0"/>
                    <a:pt x="131" y="0"/>
                  </a:cubicBezTo>
                  <a:lnTo>
                    <a:pt x="146" y="0"/>
                  </a:lnTo>
                  <a:cubicBezTo>
                    <a:pt x="150" y="0"/>
                    <a:pt x="151" y="1"/>
                    <a:pt x="151" y="5"/>
                  </a:cubicBezTo>
                  <a:lnTo>
                    <a:pt x="151" y="1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1999CAD2-AE9C-46C9-BF7A-1AA0C5393B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76" y="3689"/>
              <a:ext cx="74" cy="114"/>
            </a:xfrm>
            <a:custGeom>
              <a:avLst/>
              <a:gdLst>
                <a:gd name="T0" fmla="*/ 26 w 123"/>
                <a:gd name="T1" fmla="*/ 93 h 190"/>
                <a:gd name="T2" fmla="*/ 26 w 123"/>
                <a:gd name="T3" fmla="*/ 93 h 190"/>
                <a:gd name="T4" fmla="*/ 47 w 123"/>
                <a:gd name="T5" fmla="*/ 93 h 190"/>
                <a:gd name="T6" fmla="*/ 89 w 123"/>
                <a:gd name="T7" fmla="*/ 56 h 190"/>
                <a:gd name="T8" fmla="*/ 43 w 123"/>
                <a:gd name="T9" fmla="*/ 19 h 190"/>
                <a:gd name="T10" fmla="*/ 26 w 123"/>
                <a:gd name="T11" fmla="*/ 19 h 190"/>
                <a:gd name="T12" fmla="*/ 26 w 123"/>
                <a:gd name="T13" fmla="*/ 93 h 190"/>
                <a:gd name="T14" fmla="*/ 26 w 123"/>
                <a:gd name="T15" fmla="*/ 93 h 190"/>
                <a:gd name="T16" fmla="*/ 26 w 123"/>
                <a:gd name="T17" fmla="*/ 184 h 190"/>
                <a:gd name="T18" fmla="*/ 26 w 123"/>
                <a:gd name="T19" fmla="*/ 184 h 190"/>
                <a:gd name="T20" fmla="*/ 21 w 123"/>
                <a:gd name="T21" fmla="*/ 190 h 190"/>
                <a:gd name="T22" fmla="*/ 6 w 123"/>
                <a:gd name="T23" fmla="*/ 190 h 190"/>
                <a:gd name="T24" fmla="*/ 0 w 123"/>
                <a:gd name="T25" fmla="*/ 184 h 190"/>
                <a:gd name="T26" fmla="*/ 0 w 123"/>
                <a:gd name="T27" fmla="*/ 6 h 190"/>
                <a:gd name="T28" fmla="*/ 6 w 123"/>
                <a:gd name="T29" fmla="*/ 0 h 190"/>
                <a:gd name="T30" fmla="*/ 45 w 123"/>
                <a:gd name="T31" fmla="*/ 0 h 190"/>
                <a:gd name="T32" fmla="*/ 115 w 123"/>
                <a:gd name="T33" fmla="*/ 55 h 190"/>
                <a:gd name="T34" fmla="*/ 76 w 123"/>
                <a:gd name="T35" fmla="*/ 108 h 190"/>
                <a:gd name="T36" fmla="*/ 122 w 123"/>
                <a:gd name="T37" fmla="*/ 184 h 190"/>
                <a:gd name="T38" fmla="*/ 118 w 123"/>
                <a:gd name="T39" fmla="*/ 190 h 190"/>
                <a:gd name="T40" fmla="*/ 102 w 123"/>
                <a:gd name="T41" fmla="*/ 190 h 190"/>
                <a:gd name="T42" fmla="*/ 94 w 123"/>
                <a:gd name="T43" fmla="*/ 185 h 190"/>
                <a:gd name="T44" fmla="*/ 52 w 123"/>
                <a:gd name="T45" fmla="*/ 113 h 190"/>
                <a:gd name="T46" fmla="*/ 26 w 123"/>
                <a:gd name="T47" fmla="*/ 113 h 190"/>
                <a:gd name="T48" fmla="*/ 26 w 123"/>
                <a:gd name="T49" fmla="*/ 18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90">
                  <a:moveTo>
                    <a:pt x="26" y="93"/>
                  </a:moveTo>
                  <a:lnTo>
                    <a:pt x="26" y="93"/>
                  </a:lnTo>
                  <a:lnTo>
                    <a:pt x="47" y="93"/>
                  </a:lnTo>
                  <a:cubicBezTo>
                    <a:pt x="71" y="93"/>
                    <a:pt x="89" y="80"/>
                    <a:pt x="89" y="56"/>
                  </a:cubicBezTo>
                  <a:cubicBezTo>
                    <a:pt x="89" y="29"/>
                    <a:pt x="72" y="19"/>
                    <a:pt x="43" y="19"/>
                  </a:cubicBezTo>
                  <a:lnTo>
                    <a:pt x="26" y="19"/>
                  </a:lnTo>
                  <a:lnTo>
                    <a:pt x="26" y="93"/>
                  </a:lnTo>
                  <a:lnTo>
                    <a:pt x="26" y="93"/>
                  </a:lnTo>
                  <a:close/>
                  <a:moveTo>
                    <a:pt x="26" y="184"/>
                  </a:moveTo>
                  <a:lnTo>
                    <a:pt x="26" y="184"/>
                  </a:lnTo>
                  <a:cubicBezTo>
                    <a:pt x="26" y="188"/>
                    <a:pt x="24" y="190"/>
                    <a:pt x="21" y="190"/>
                  </a:cubicBezTo>
                  <a:lnTo>
                    <a:pt x="6" y="190"/>
                  </a:lnTo>
                  <a:cubicBezTo>
                    <a:pt x="2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6" y="0"/>
                  </a:cubicBezTo>
                  <a:lnTo>
                    <a:pt x="45" y="0"/>
                  </a:lnTo>
                  <a:cubicBezTo>
                    <a:pt x="86" y="0"/>
                    <a:pt x="115" y="14"/>
                    <a:pt x="115" y="55"/>
                  </a:cubicBezTo>
                  <a:cubicBezTo>
                    <a:pt x="115" y="82"/>
                    <a:pt x="98" y="101"/>
                    <a:pt x="76" y="108"/>
                  </a:cubicBezTo>
                  <a:lnTo>
                    <a:pt x="122" y="184"/>
                  </a:lnTo>
                  <a:cubicBezTo>
                    <a:pt x="123" y="186"/>
                    <a:pt x="123" y="190"/>
                    <a:pt x="118" y="190"/>
                  </a:cubicBezTo>
                  <a:lnTo>
                    <a:pt x="102" y="190"/>
                  </a:lnTo>
                  <a:cubicBezTo>
                    <a:pt x="98" y="190"/>
                    <a:pt x="96" y="188"/>
                    <a:pt x="94" y="185"/>
                  </a:cubicBezTo>
                  <a:lnTo>
                    <a:pt x="52" y="113"/>
                  </a:lnTo>
                  <a:lnTo>
                    <a:pt x="26" y="113"/>
                  </a:lnTo>
                  <a:lnTo>
                    <a:pt x="26" y="1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23B54012-F721-473A-81D6-5A306CC12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6" y="3689"/>
              <a:ext cx="66" cy="114"/>
            </a:xfrm>
            <a:custGeom>
              <a:avLst/>
              <a:gdLst>
                <a:gd name="T0" fmla="*/ 26 w 108"/>
                <a:gd name="T1" fmla="*/ 80 h 190"/>
                <a:gd name="T2" fmla="*/ 26 w 108"/>
                <a:gd name="T3" fmla="*/ 80 h 190"/>
                <a:gd name="T4" fmla="*/ 91 w 108"/>
                <a:gd name="T5" fmla="*/ 80 h 190"/>
                <a:gd name="T6" fmla="*/ 96 w 108"/>
                <a:gd name="T7" fmla="*/ 85 h 190"/>
                <a:gd name="T8" fmla="*/ 96 w 108"/>
                <a:gd name="T9" fmla="*/ 96 h 190"/>
                <a:gd name="T10" fmla="*/ 91 w 108"/>
                <a:gd name="T11" fmla="*/ 100 h 190"/>
                <a:gd name="T12" fmla="*/ 26 w 108"/>
                <a:gd name="T13" fmla="*/ 100 h 190"/>
                <a:gd name="T14" fmla="*/ 26 w 108"/>
                <a:gd name="T15" fmla="*/ 159 h 190"/>
                <a:gd name="T16" fmla="*/ 28 w 108"/>
                <a:gd name="T17" fmla="*/ 167 h 190"/>
                <a:gd name="T18" fmla="*/ 36 w 108"/>
                <a:gd name="T19" fmla="*/ 170 h 190"/>
                <a:gd name="T20" fmla="*/ 102 w 108"/>
                <a:gd name="T21" fmla="*/ 170 h 190"/>
                <a:gd name="T22" fmla="*/ 108 w 108"/>
                <a:gd name="T23" fmla="*/ 174 h 190"/>
                <a:gd name="T24" fmla="*/ 108 w 108"/>
                <a:gd name="T25" fmla="*/ 185 h 190"/>
                <a:gd name="T26" fmla="*/ 102 w 108"/>
                <a:gd name="T27" fmla="*/ 190 h 190"/>
                <a:gd name="T28" fmla="*/ 32 w 108"/>
                <a:gd name="T29" fmla="*/ 190 h 190"/>
                <a:gd name="T30" fmla="*/ 7 w 108"/>
                <a:gd name="T31" fmla="*/ 182 h 190"/>
                <a:gd name="T32" fmla="*/ 0 w 108"/>
                <a:gd name="T33" fmla="*/ 159 h 190"/>
                <a:gd name="T34" fmla="*/ 0 w 108"/>
                <a:gd name="T35" fmla="*/ 6 h 190"/>
                <a:gd name="T36" fmla="*/ 6 w 108"/>
                <a:gd name="T37" fmla="*/ 0 h 190"/>
                <a:gd name="T38" fmla="*/ 102 w 108"/>
                <a:gd name="T39" fmla="*/ 0 h 190"/>
                <a:gd name="T40" fmla="*/ 107 w 108"/>
                <a:gd name="T41" fmla="*/ 4 h 190"/>
                <a:gd name="T42" fmla="*/ 105 w 108"/>
                <a:gd name="T43" fmla="*/ 15 h 190"/>
                <a:gd name="T44" fmla="*/ 99 w 108"/>
                <a:gd name="T45" fmla="*/ 20 h 190"/>
                <a:gd name="T46" fmla="*/ 26 w 108"/>
                <a:gd name="T47" fmla="*/ 20 h 190"/>
                <a:gd name="T48" fmla="*/ 26 w 108"/>
                <a:gd name="T49" fmla="*/ 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8" h="190">
                  <a:moveTo>
                    <a:pt x="26" y="80"/>
                  </a:moveTo>
                  <a:lnTo>
                    <a:pt x="26" y="80"/>
                  </a:lnTo>
                  <a:lnTo>
                    <a:pt x="91" y="80"/>
                  </a:lnTo>
                  <a:cubicBezTo>
                    <a:pt x="94" y="80"/>
                    <a:pt x="96" y="81"/>
                    <a:pt x="96" y="85"/>
                  </a:cubicBezTo>
                  <a:lnTo>
                    <a:pt x="96" y="96"/>
                  </a:lnTo>
                  <a:cubicBezTo>
                    <a:pt x="96" y="99"/>
                    <a:pt x="94" y="100"/>
                    <a:pt x="91" y="100"/>
                  </a:cubicBezTo>
                  <a:lnTo>
                    <a:pt x="26" y="100"/>
                  </a:lnTo>
                  <a:lnTo>
                    <a:pt x="26" y="159"/>
                  </a:lnTo>
                  <a:cubicBezTo>
                    <a:pt x="26" y="162"/>
                    <a:pt x="26" y="165"/>
                    <a:pt x="28" y="167"/>
                  </a:cubicBezTo>
                  <a:cubicBezTo>
                    <a:pt x="30" y="169"/>
                    <a:pt x="32" y="170"/>
                    <a:pt x="36" y="170"/>
                  </a:cubicBezTo>
                  <a:lnTo>
                    <a:pt x="102" y="170"/>
                  </a:lnTo>
                  <a:cubicBezTo>
                    <a:pt x="106" y="170"/>
                    <a:pt x="108" y="171"/>
                    <a:pt x="108" y="174"/>
                  </a:cubicBezTo>
                  <a:lnTo>
                    <a:pt x="108" y="185"/>
                  </a:lnTo>
                  <a:cubicBezTo>
                    <a:pt x="108" y="189"/>
                    <a:pt x="106" y="190"/>
                    <a:pt x="102" y="190"/>
                  </a:cubicBezTo>
                  <a:lnTo>
                    <a:pt x="32" y="190"/>
                  </a:lnTo>
                  <a:cubicBezTo>
                    <a:pt x="20" y="190"/>
                    <a:pt x="12" y="187"/>
                    <a:pt x="7" y="182"/>
                  </a:cubicBezTo>
                  <a:cubicBezTo>
                    <a:pt x="2" y="177"/>
                    <a:pt x="0" y="170"/>
                    <a:pt x="0" y="159"/>
                  </a:cubicBezTo>
                  <a:lnTo>
                    <a:pt x="0" y="6"/>
                  </a:lnTo>
                  <a:cubicBezTo>
                    <a:pt x="0" y="1"/>
                    <a:pt x="2" y="0"/>
                    <a:pt x="6" y="0"/>
                  </a:cubicBezTo>
                  <a:lnTo>
                    <a:pt x="102" y="0"/>
                  </a:lnTo>
                  <a:cubicBezTo>
                    <a:pt x="106" y="0"/>
                    <a:pt x="108" y="1"/>
                    <a:pt x="107" y="4"/>
                  </a:cubicBezTo>
                  <a:lnTo>
                    <a:pt x="105" y="15"/>
                  </a:lnTo>
                  <a:cubicBezTo>
                    <a:pt x="105" y="19"/>
                    <a:pt x="103" y="20"/>
                    <a:pt x="99" y="20"/>
                  </a:cubicBezTo>
                  <a:lnTo>
                    <a:pt x="26" y="20"/>
                  </a:lnTo>
                  <a:lnTo>
                    <a:pt x="26" y="8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7BE70A65-F3E2-43CD-B48C-B37DBB04C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69" y="3689"/>
              <a:ext cx="115" cy="114"/>
            </a:xfrm>
            <a:custGeom>
              <a:avLst/>
              <a:gdLst>
                <a:gd name="T0" fmla="*/ 159 w 190"/>
                <a:gd name="T1" fmla="*/ 49 h 190"/>
                <a:gd name="T2" fmla="*/ 159 w 190"/>
                <a:gd name="T3" fmla="*/ 49 h 190"/>
                <a:gd name="T4" fmla="*/ 106 w 190"/>
                <a:gd name="T5" fmla="*/ 186 h 190"/>
                <a:gd name="T6" fmla="*/ 101 w 190"/>
                <a:gd name="T7" fmla="*/ 190 h 190"/>
                <a:gd name="T8" fmla="*/ 91 w 190"/>
                <a:gd name="T9" fmla="*/ 190 h 190"/>
                <a:gd name="T10" fmla="*/ 85 w 190"/>
                <a:gd name="T11" fmla="*/ 186 h 190"/>
                <a:gd name="T12" fmla="*/ 28 w 190"/>
                <a:gd name="T13" fmla="*/ 49 h 190"/>
                <a:gd name="T14" fmla="*/ 28 w 190"/>
                <a:gd name="T15" fmla="*/ 49 h 190"/>
                <a:gd name="T16" fmla="*/ 25 w 190"/>
                <a:gd name="T17" fmla="*/ 185 h 190"/>
                <a:gd name="T18" fmla="*/ 19 w 190"/>
                <a:gd name="T19" fmla="*/ 190 h 190"/>
                <a:gd name="T20" fmla="*/ 6 w 190"/>
                <a:gd name="T21" fmla="*/ 190 h 190"/>
                <a:gd name="T22" fmla="*/ 1 w 190"/>
                <a:gd name="T23" fmla="*/ 185 h 190"/>
                <a:gd name="T24" fmla="*/ 7 w 190"/>
                <a:gd name="T25" fmla="*/ 5 h 190"/>
                <a:gd name="T26" fmla="*/ 12 w 190"/>
                <a:gd name="T27" fmla="*/ 0 h 190"/>
                <a:gd name="T28" fmla="*/ 24 w 190"/>
                <a:gd name="T29" fmla="*/ 0 h 190"/>
                <a:gd name="T30" fmla="*/ 31 w 190"/>
                <a:gd name="T31" fmla="*/ 4 h 190"/>
                <a:gd name="T32" fmla="*/ 97 w 190"/>
                <a:gd name="T33" fmla="*/ 156 h 190"/>
                <a:gd name="T34" fmla="*/ 98 w 190"/>
                <a:gd name="T35" fmla="*/ 156 h 190"/>
                <a:gd name="T36" fmla="*/ 159 w 190"/>
                <a:gd name="T37" fmla="*/ 4 h 190"/>
                <a:gd name="T38" fmla="*/ 165 w 190"/>
                <a:gd name="T39" fmla="*/ 0 h 190"/>
                <a:gd name="T40" fmla="*/ 178 w 190"/>
                <a:gd name="T41" fmla="*/ 0 h 190"/>
                <a:gd name="T42" fmla="*/ 183 w 190"/>
                <a:gd name="T43" fmla="*/ 4 h 190"/>
                <a:gd name="T44" fmla="*/ 190 w 190"/>
                <a:gd name="T45" fmla="*/ 184 h 190"/>
                <a:gd name="T46" fmla="*/ 185 w 190"/>
                <a:gd name="T47" fmla="*/ 190 h 190"/>
                <a:gd name="T48" fmla="*/ 169 w 190"/>
                <a:gd name="T49" fmla="*/ 190 h 190"/>
                <a:gd name="T50" fmla="*/ 164 w 190"/>
                <a:gd name="T51" fmla="*/ 184 h 190"/>
                <a:gd name="T52" fmla="*/ 159 w 190"/>
                <a:gd name="T53" fmla="*/ 49 h 190"/>
                <a:gd name="T54" fmla="*/ 159 w 190"/>
                <a:gd name="T55" fmla="*/ 4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0" h="190">
                  <a:moveTo>
                    <a:pt x="159" y="49"/>
                  </a:moveTo>
                  <a:lnTo>
                    <a:pt x="159" y="49"/>
                  </a:lnTo>
                  <a:lnTo>
                    <a:pt x="106" y="186"/>
                  </a:lnTo>
                  <a:cubicBezTo>
                    <a:pt x="105" y="189"/>
                    <a:pt x="103" y="190"/>
                    <a:pt x="101" y="190"/>
                  </a:cubicBezTo>
                  <a:lnTo>
                    <a:pt x="91" y="190"/>
                  </a:lnTo>
                  <a:cubicBezTo>
                    <a:pt x="89" y="190"/>
                    <a:pt x="87" y="189"/>
                    <a:pt x="85" y="186"/>
                  </a:cubicBezTo>
                  <a:lnTo>
                    <a:pt x="28" y="49"/>
                  </a:lnTo>
                  <a:lnTo>
                    <a:pt x="28" y="49"/>
                  </a:lnTo>
                  <a:lnTo>
                    <a:pt x="25" y="185"/>
                  </a:lnTo>
                  <a:cubicBezTo>
                    <a:pt x="25" y="189"/>
                    <a:pt x="23" y="190"/>
                    <a:pt x="19" y="190"/>
                  </a:cubicBezTo>
                  <a:lnTo>
                    <a:pt x="6" y="190"/>
                  </a:lnTo>
                  <a:cubicBezTo>
                    <a:pt x="2" y="190"/>
                    <a:pt x="0" y="189"/>
                    <a:pt x="1" y="185"/>
                  </a:cubicBezTo>
                  <a:lnTo>
                    <a:pt x="7" y="5"/>
                  </a:lnTo>
                  <a:cubicBezTo>
                    <a:pt x="7" y="1"/>
                    <a:pt x="9" y="0"/>
                    <a:pt x="12" y="0"/>
                  </a:cubicBezTo>
                  <a:lnTo>
                    <a:pt x="24" y="0"/>
                  </a:lnTo>
                  <a:cubicBezTo>
                    <a:pt x="28" y="0"/>
                    <a:pt x="30" y="1"/>
                    <a:pt x="31" y="4"/>
                  </a:cubicBezTo>
                  <a:lnTo>
                    <a:pt x="97" y="156"/>
                  </a:lnTo>
                  <a:lnTo>
                    <a:pt x="98" y="156"/>
                  </a:lnTo>
                  <a:lnTo>
                    <a:pt x="159" y="4"/>
                  </a:lnTo>
                  <a:cubicBezTo>
                    <a:pt x="160" y="1"/>
                    <a:pt x="162" y="0"/>
                    <a:pt x="165" y="0"/>
                  </a:cubicBezTo>
                  <a:lnTo>
                    <a:pt x="178" y="0"/>
                  </a:lnTo>
                  <a:cubicBezTo>
                    <a:pt x="181" y="0"/>
                    <a:pt x="183" y="1"/>
                    <a:pt x="183" y="4"/>
                  </a:cubicBezTo>
                  <a:lnTo>
                    <a:pt x="190" y="184"/>
                  </a:lnTo>
                  <a:cubicBezTo>
                    <a:pt x="190" y="188"/>
                    <a:pt x="189" y="190"/>
                    <a:pt x="185" y="190"/>
                  </a:cubicBezTo>
                  <a:lnTo>
                    <a:pt x="169" y="190"/>
                  </a:lnTo>
                  <a:cubicBezTo>
                    <a:pt x="165" y="190"/>
                    <a:pt x="164" y="188"/>
                    <a:pt x="164" y="184"/>
                  </a:cubicBezTo>
                  <a:lnTo>
                    <a:pt x="159" y="49"/>
                  </a:lnTo>
                  <a:lnTo>
                    <a:pt x="159" y="49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3331AA7F-595C-4495-B489-0F4CAB19D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8" y="3689"/>
              <a:ext cx="64" cy="114"/>
            </a:xfrm>
            <a:custGeom>
              <a:avLst/>
              <a:gdLst>
                <a:gd name="T0" fmla="*/ 25 w 107"/>
                <a:gd name="T1" fmla="*/ 80 h 190"/>
                <a:gd name="T2" fmla="*/ 25 w 107"/>
                <a:gd name="T3" fmla="*/ 80 h 190"/>
                <a:gd name="T4" fmla="*/ 90 w 107"/>
                <a:gd name="T5" fmla="*/ 80 h 190"/>
                <a:gd name="T6" fmla="*/ 96 w 107"/>
                <a:gd name="T7" fmla="*/ 85 h 190"/>
                <a:gd name="T8" fmla="*/ 96 w 107"/>
                <a:gd name="T9" fmla="*/ 96 h 190"/>
                <a:gd name="T10" fmla="*/ 90 w 107"/>
                <a:gd name="T11" fmla="*/ 100 h 190"/>
                <a:gd name="T12" fmla="*/ 25 w 107"/>
                <a:gd name="T13" fmla="*/ 100 h 190"/>
                <a:gd name="T14" fmla="*/ 25 w 107"/>
                <a:gd name="T15" fmla="*/ 159 h 190"/>
                <a:gd name="T16" fmla="*/ 27 w 107"/>
                <a:gd name="T17" fmla="*/ 167 h 190"/>
                <a:gd name="T18" fmla="*/ 36 w 107"/>
                <a:gd name="T19" fmla="*/ 170 h 190"/>
                <a:gd name="T20" fmla="*/ 102 w 107"/>
                <a:gd name="T21" fmla="*/ 170 h 190"/>
                <a:gd name="T22" fmla="*/ 107 w 107"/>
                <a:gd name="T23" fmla="*/ 174 h 190"/>
                <a:gd name="T24" fmla="*/ 107 w 107"/>
                <a:gd name="T25" fmla="*/ 185 h 190"/>
                <a:gd name="T26" fmla="*/ 102 w 107"/>
                <a:gd name="T27" fmla="*/ 190 h 190"/>
                <a:gd name="T28" fmla="*/ 31 w 107"/>
                <a:gd name="T29" fmla="*/ 190 h 190"/>
                <a:gd name="T30" fmla="*/ 6 w 107"/>
                <a:gd name="T31" fmla="*/ 182 h 190"/>
                <a:gd name="T32" fmla="*/ 0 w 107"/>
                <a:gd name="T33" fmla="*/ 159 h 190"/>
                <a:gd name="T34" fmla="*/ 0 w 107"/>
                <a:gd name="T35" fmla="*/ 6 h 190"/>
                <a:gd name="T36" fmla="*/ 5 w 107"/>
                <a:gd name="T37" fmla="*/ 0 h 190"/>
                <a:gd name="T38" fmla="*/ 102 w 107"/>
                <a:gd name="T39" fmla="*/ 0 h 190"/>
                <a:gd name="T40" fmla="*/ 107 w 107"/>
                <a:gd name="T41" fmla="*/ 4 h 190"/>
                <a:gd name="T42" fmla="*/ 105 w 107"/>
                <a:gd name="T43" fmla="*/ 15 h 190"/>
                <a:gd name="T44" fmla="*/ 99 w 107"/>
                <a:gd name="T45" fmla="*/ 20 h 190"/>
                <a:gd name="T46" fmla="*/ 25 w 107"/>
                <a:gd name="T47" fmla="*/ 20 h 190"/>
                <a:gd name="T48" fmla="*/ 25 w 107"/>
                <a:gd name="T49" fmla="*/ 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190">
                  <a:moveTo>
                    <a:pt x="25" y="80"/>
                  </a:moveTo>
                  <a:lnTo>
                    <a:pt x="25" y="80"/>
                  </a:lnTo>
                  <a:lnTo>
                    <a:pt x="90" y="80"/>
                  </a:lnTo>
                  <a:cubicBezTo>
                    <a:pt x="94" y="80"/>
                    <a:pt x="96" y="81"/>
                    <a:pt x="96" y="85"/>
                  </a:cubicBezTo>
                  <a:lnTo>
                    <a:pt x="96" y="96"/>
                  </a:lnTo>
                  <a:cubicBezTo>
                    <a:pt x="96" y="99"/>
                    <a:pt x="94" y="100"/>
                    <a:pt x="90" y="100"/>
                  </a:cubicBezTo>
                  <a:lnTo>
                    <a:pt x="25" y="100"/>
                  </a:lnTo>
                  <a:lnTo>
                    <a:pt x="25" y="159"/>
                  </a:lnTo>
                  <a:cubicBezTo>
                    <a:pt x="25" y="162"/>
                    <a:pt x="26" y="165"/>
                    <a:pt x="27" y="167"/>
                  </a:cubicBezTo>
                  <a:cubicBezTo>
                    <a:pt x="29" y="169"/>
                    <a:pt x="32" y="170"/>
                    <a:pt x="36" y="170"/>
                  </a:cubicBezTo>
                  <a:lnTo>
                    <a:pt x="102" y="170"/>
                  </a:lnTo>
                  <a:cubicBezTo>
                    <a:pt x="105" y="170"/>
                    <a:pt x="107" y="171"/>
                    <a:pt x="107" y="174"/>
                  </a:cubicBezTo>
                  <a:lnTo>
                    <a:pt x="107" y="185"/>
                  </a:lnTo>
                  <a:cubicBezTo>
                    <a:pt x="107" y="189"/>
                    <a:pt x="105" y="190"/>
                    <a:pt x="102" y="190"/>
                  </a:cubicBezTo>
                  <a:lnTo>
                    <a:pt x="31" y="190"/>
                  </a:lnTo>
                  <a:cubicBezTo>
                    <a:pt x="19" y="190"/>
                    <a:pt x="12" y="187"/>
                    <a:pt x="6" y="182"/>
                  </a:cubicBezTo>
                  <a:cubicBezTo>
                    <a:pt x="2" y="177"/>
                    <a:pt x="0" y="170"/>
                    <a:pt x="0" y="159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102" y="0"/>
                  </a:lnTo>
                  <a:cubicBezTo>
                    <a:pt x="106" y="0"/>
                    <a:pt x="107" y="1"/>
                    <a:pt x="107" y="4"/>
                  </a:cubicBezTo>
                  <a:lnTo>
                    <a:pt x="105" y="15"/>
                  </a:lnTo>
                  <a:cubicBezTo>
                    <a:pt x="104" y="19"/>
                    <a:pt x="103" y="20"/>
                    <a:pt x="99" y="20"/>
                  </a:cubicBezTo>
                  <a:lnTo>
                    <a:pt x="25" y="20"/>
                  </a:lnTo>
                  <a:lnTo>
                    <a:pt x="25" y="8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36AC367C-3AAB-40AD-B989-78252D95E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1" y="3689"/>
              <a:ext cx="90" cy="114"/>
            </a:xfrm>
            <a:custGeom>
              <a:avLst/>
              <a:gdLst>
                <a:gd name="T0" fmla="*/ 126 w 150"/>
                <a:gd name="T1" fmla="*/ 148 h 190"/>
                <a:gd name="T2" fmla="*/ 126 w 150"/>
                <a:gd name="T3" fmla="*/ 148 h 190"/>
                <a:gd name="T4" fmla="*/ 126 w 150"/>
                <a:gd name="T5" fmla="*/ 5 h 190"/>
                <a:gd name="T6" fmla="*/ 131 w 150"/>
                <a:gd name="T7" fmla="*/ 0 h 190"/>
                <a:gd name="T8" fmla="*/ 144 w 150"/>
                <a:gd name="T9" fmla="*/ 0 h 190"/>
                <a:gd name="T10" fmla="*/ 150 w 150"/>
                <a:gd name="T11" fmla="*/ 5 h 190"/>
                <a:gd name="T12" fmla="*/ 150 w 150"/>
                <a:gd name="T13" fmla="*/ 184 h 190"/>
                <a:gd name="T14" fmla="*/ 144 w 150"/>
                <a:gd name="T15" fmla="*/ 190 h 190"/>
                <a:gd name="T16" fmla="*/ 132 w 150"/>
                <a:gd name="T17" fmla="*/ 190 h 190"/>
                <a:gd name="T18" fmla="*/ 123 w 150"/>
                <a:gd name="T19" fmla="*/ 184 h 190"/>
                <a:gd name="T20" fmla="*/ 24 w 150"/>
                <a:gd name="T21" fmla="*/ 44 h 190"/>
                <a:gd name="T22" fmla="*/ 24 w 150"/>
                <a:gd name="T23" fmla="*/ 44 h 190"/>
                <a:gd name="T24" fmla="*/ 24 w 150"/>
                <a:gd name="T25" fmla="*/ 184 h 190"/>
                <a:gd name="T26" fmla="*/ 19 w 150"/>
                <a:gd name="T27" fmla="*/ 190 h 190"/>
                <a:gd name="T28" fmla="*/ 6 w 150"/>
                <a:gd name="T29" fmla="*/ 190 h 190"/>
                <a:gd name="T30" fmla="*/ 0 w 150"/>
                <a:gd name="T31" fmla="*/ 184 h 190"/>
                <a:gd name="T32" fmla="*/ 0 w 150"/>
                <a:gd name="T33" fmla="*/ 5 h 190"/>
                <a:gd name="T34" fmla="*/ 5 w 150"/>
                <a:gd name="T35" fmla="*/ 0 h 190"/>
                <a:gd name="T36" fmla="*/ 16 w 150"/>
                <a:gd name="T37" fmla="*/ 0 h 190"/>
                <a:gd name="T38" fmla="*/ 26 w 150"/>
                <a:gd name="T39" fmla="*/ 5 h 190"/>
                <a:gd name="T40" fmla="*/ 125 w 150"/>
                <a:gd name="T41" fmla="*/ 148 h 190"/>
                <a:gd name="T42" fmla="*/ 126 w 150"/>
                <a:gd name="T43" fmla="*/ 14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0" h="190">
                  <a:moveTo>
                    <a:pt x="126" y="148"/>
                  </a:moveTo>
                  <a:lnTo>
                    <a:pt x="126" y="148"/>
                  </a:lnTo>
                  <a:lnTo>
                    <a:pt x="126" y="5"/>
                  </a:lnTo>
                  <a:cubicBezTo>
                    <a:pt x="126" y="2"/>
                    <a:pt x="128" y="0"/>
                    <a:pt x="131" y="0"/>
                  </a:cubicBezTo>
                  <a:lnTo>
                    <a:pt x="144" y="0"/>
                  </a:lnTo>
                  <a:cubicBezTo>
                    <a:pt x="148" y="0"/>
                    <a:pt x="150" y="1"/>
                    <a:pt x="150" y="5"/>
                  </a:cubicBezTo>
                  <a:lnTo>
                    <a:pt x="150" y="184"/>
                  </a:lnTo>
                  <a:cubicBezTo>
                    <a:pt x="150" y="188"/>
                    <a:pt x="148" y="190"/>
                    <a:pt x="144" y="190"/>
                  </a:cubicBezTo>
                  <a:lnTo>
                    <a:pt x="132" y="190"/>
                  </a:lnTo>
                  <a:cubicBezTo>
                    <a:pt x="128" y="190"/>
                    <a:pt x="126" y="188"/>
                    <a:pt x="123" y="184"/>
                  </a:cubicBezTo>
                  <a:lnTo>
                    <a:pt x="24" y="44"/>
                  </a:lnTo>
                  <a:lnTo>
                    <a:pt x="24" y="44"/>
                  </a:lnTo>
                  <a:lnTo>
                    <a:pt x="24" y="184"/>
                  </a:lnTo>
                  <a:cubicBezTo>
                    <a:pt x="24" y="188"/>
                    <a:pt x="22" y="190"/>
                    <a:pt x="19" y="190"/>
                  </a:cubicBezTo>
                  <a:lnTo>
                    <a:pt x="6" y="190"/>
                  </a:lnTo>
                  <a:cubicBezTo>
                    <a:pt x="2" y="190"/>
                    <a:pt x="0" y="188"/>
                    <a:pt x="0" y="18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16" y="0"/>
                  </a:lnTo>
                  <a:cubicBezTo>
                    <a:pt x="20" y="0"/>
                    <a:pt x="23" y="1"/>
                    <a:pt x="26" y="5"/>
                  </a:cubicBezTo>
                  <a:lnTo>
                    <a:pt x="125" y="148"/>
                  </a:lnTo>
                  <a:lnTo>
                    <a:pt x="126" y="14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D516A1F4-997F-4E3E-B024-130719F375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5" y="3689"/>
              <a:ext cx="86" cy="114"/>
            </a:xfrm>
            <a:custGeom>
              <a:avLst/>
              <a:gdLst>
                <a:gd name="T0" fmla="*/ 5 w 144"/>
                <a:gd name="T1" fmla="*/ 20 h 190"/>
                <a:gd name="T2" fmla="*/ 5 w 144"/>
                <a:gd name="T3" fmla="*/ 20 h 190"/>
                <a:gd name="T4" fmla="*/ 0 w 144"/>
                <a:gd name="T5" fmla="*/ 15 h 190"/>
                <a:gd name="T6" fmla="*/ 0 w 144"/>
                <a:gd name="T7" fmla="*/ 4 h 190"/>
                <a:gd name="T8" fmla="*/ 5 w 144"/>
                <a:gd name="T9" fmla="*/ 0 h 190"/>
                <a:gd name="T10" fmla="*/ 139 w 144"/>
                <a:gd name="T11" fmla="*/ 0 h 190"/>
                <a:gd name="T12" fmla="*/ 143 w 144"/>
                <a:gd name="T13" fmla="*/ 4 h 190"/>
                <a:gd name="T14" fmla="*/ 142 w 144"/>
                <a:gd name="T15" fmla="*/ 15 h 190"/>
                <a:gd name="T16" fmla="*/ 136 w 144"/>
                <a:gd name="T17" fmla="*/ 20 h 190"/>
                <a:gd name="T18" fmla="*/ 83 w 144"/>
                <a:gd name="T19" fmla="*/ 20 h 190"/>
                <a:gd name="T20" fmla="*/ 83 w 144"/>
                <a:gd name="T21" fmla="*/ 184 h 190"/>
                <a:gd name="T22" fmla="*/ 78 w 144"/>
                <a:gd name="T23" fmla="*/ 190 h 190"/>
                <a:gd name="T24" fmla="*/ 63 w 144"/>
                <a:gd name="T25" fmla="*/ 190 h 190"/>
                <a:gd name="T26" fmla="*/ 58 w 144"/>
                <a:gd name="T27" fmla="*/ 184 h 190"/>
                <a:gd name="T28" fmla="*/ 58 w 144"/>
                <a:gd name="T29" fmla="*/ 20 h 190"/>
                <a:gd name="T30" fmla="*/ 5 w 144"/>
                <a:gd name="T31" fmla="*/ 2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4" h="190">
                  <a:moveTo>
                    <a:pt x="5" y="20"/>
                  </a:moveTo>
                  <a:lnTo>
                    <a:pt x="5" y="20"/>
                  </a:lnTo>
                  <a:cubicBezTo>
                    <a:pt x="2" y="20"/>
                    <a:pt x="0" y="19"/>
                    <a:pt x="0" y="15"/>
                  </a:cubicBezTo>
                  <a:lnTo>
                    <a:pt x="0" y="4"/>
                  </a:lnTo>
                  <a:cubicBezTo>
                    <a:pt x="0" y="1"/>
                    <a:pt x="2" y="0"/>
                    <a:pt x="5" y="0"/>
                  </a:cubicBezTo>
                  <a:lnTo>
                    <a:pt x="139" y="0"/>
                  </a:lnTo>
                  <a:cubicBezTo>
                    <a:pt x="143" y="0"/>
                    <a:pt x="144" y="1"/>
                    <a:pt x="143" y="4"/>
                  </a:cubicBezTo>
                  <a:lnTo>
                    <a:pt x="142" y="15"/>
                  </a:lnTo>
                  <a:cubicBezTo>
                    <a:pt x="141" y="19"/>
                    <a:pt x="140" y="20"/>
                    <a:pt x="136" y="20"/>
                  </a:cubicBezTo>
                  <a:lnTo>
                    <a:pt x="83" y="20"/>
                  </a:lnTo>
                  <a:lnTo>
                    <a:pt x="83" y="184"/>
                  </a:lnTo>
                  <a:cubicBezTo>
                    <a:pt x="83" y="188"/>
                    <a:pt x="82" y="190"/>
                    <a:pt x="78" y="190"/>
                  </a:cubicBezTo>
                  <a:lnTo>
                    <a:pt x="63" y="190"/>
                  </a:lnTo>
                  <a:cubicBezTo>
                    <a:pt x="59" y="190"/>
                    <a:pt x="58" y="188"/>
                    <a:pt x="58" y="184"/>
                  </a:cubicBezTo>
                  <a:lnTo>
                    <a:pt x="58" y="20"/>
                  </a:lnTo>
                  <a:lnTo>
                    <a:pt x="5" y="2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06B7FF3F-7B88-4189-9D49-D1123ECCED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" y="3372"/>
              <a:ext cx="177" cy="232"/>
            </a:xfrm>
            <a:custGeom>
              <a:avLst/>
              <a:gdLst>
                <a:gd name="T0" fmla="*/ 186 w 292"/>
                <a:gd name="T1" fmla="*/ 204 h 385"/>
                <a:gd name="T2" fmla="*/ 186 w 292"/>
                <a:gd name="T3" fmla="*/ 204 h 385"/>
                <a:gd name="T4" fmla="*/ 175 w 292"/>
                <a:gd name="T5" fmla="*/ 195 h 385"/>
                <a:gd name="T6" fmla="*/ 175 w 292"/>
                <a:gd name="T7" fmla="*/ 173 h 385"/>
                <a:gd name="T8" fmla="*/ 186 w 292"/>
                <a:gd name="T9" fmla="*/ 165 h 385"/>
                <a:gd name="T10" fmla="*/ 281 w 292"/>
                <a:gd name="T11" fmla="*/ 165 h 385"/>
                <a:gd name="T12" fmla="*/ 292 w 292"/>
                <a:gd name="T13" fmla="*/ 176 h 385"/>
                <a:gd name="T14" fmla="*/ 292 w 292"/>
                <a:gd name="T15" fmla="*/ 339 h 385"/>
                <a:gd name="T16" fmla="*/ 280 w 292"/>
                <a:gd name="T17" fmla="*/ 360 h 385"/>
                <a:gd name="T18" fmla="*/ 174 w 292"/>
                <a:gd name="T19" fmla="*/ 385 h 385"/>
                <a:gd name="T20" fmla="*/ 0 w 292"/>
                <a:gd name="T21" fmla="*/ 193 h 385"/>
                <a:gd name="T22" fmla="*/ 181 w 292"/>
                <a:gd name="T23" fmla="*/ 0 h 385"/>
                <a:gd name="T24" fmla="*/ 271 w 292"/>
                <a:gd name="T25" fmla="*/ 18 h 385"/>
                <a:gd name="T26" fmla="*/ 276 w 292"/>
                <a:gd name="T27" fmla="*/ 31 h 385"/>
                <a:gd name="T28" fmla="*/ 269 w 292"/>
                <a:gd name="T29" fmla="*/ 52 h 385"/>
                <a:gd name="T30" fmla="*/ 256 w 292"/>
                <a:gd name="T31" fmla="*/ 56 h 385"/>
                <a:gd name="T32" fmla="*/ 183 w 292"/>
                <a:gd name="T33" fmla="*/ 42 h 385"/>
                <a:gd name="T34" fmla="*/ 54 w 292"/>
                <a:gd name="T35" fmla="*/ 192 h 385"/>
                <a:gd name="T36" fmla="*/ 173 w 292"/>
                <a:gd name="T37" fmla="*/ 345 h 385"/>
                <a:gd name="T38" fmla="*/ 242 w 292"/>
                <a:gd name="T39" fmla="*/ 332 h 385"/>
                <a:gd name="T40" fmla="*/ 242 w 292"/>
                <a:gd name="T41" fmla="*/ 204 h 385"/>
                <a:gd name="T42" fmla="*/ 186 w 292"/>
                <a:gd name="T43" fmla="*/ 20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2" h="385">
                  <a:moveTo>
                    <a:pt x="186" y="204"/>
                  </a:moveTo>
                  <a:lnTo>
                    <a:pt x="186" y="204"/>
                  </a:lnTo>
                  <a:cubicBezTo>
                    <a:pt x="179" y="204"/>
                    <a:pt x="175" y="201"/>
                    <a:pt x="175" y="195"/>
                  </a:cubicBezTo>
                  <a:lnTo>
                    <a:pt x="175" y="173"/>
                  </a:lnTo>
                  <a:cubicBezTo>
                    <a:pt x="175" y="167"/>
                    <a:pt x="179" y="165"/>
                    <a:pt x="186" y="165"/>
                  </a:cubicBezTo>
                  <a:lnTo>
                    <a:pt x="281" y="165"/>
                  </a:lnTo>
                  <a:cubicBezTo>
                    <a:pt x="288" y="165"/>
                    <a:pt x="292" y="167"/>
                    <a:pt x="292" y="176"/>
                  </a:cubicBezTo>
                  <a:lnTo>
                    <a:pt x="292" y="339"/>
                  </a:lnTo>
                  <a:cubicBezTo>
                    <a:pt x="292" y="351"/>
                    <a:pt x="290" y="355"/>
                    <a:pt x="280" y="360"/>
                  </a:cubicBezTo>
                  <a:cubicBezTo>
                    <a:pt x="254" y="375"/>
                    <a:pt x="210" y="385"/>
                    <a:pt x="174" y="385"/>
                  </a:cubicBezTo>
                  <a:cubicBezTo>
                    <a:pt x="57" y="385"/>
                    <a:pt x="0" y="305"/>
                    <a:pt x="0" y="193"/>
                  </a:cubicBezTo>
                  <a:cubicBezTo>
                    <a:pt x="0" y="84"/>
                    <a:pt x="68" y="0"/>
                    <a:pt x="181" y="0"/>
                  </a:cubicBezTo>
                  <a:cubicBezTo>
                    <a:pt x="209" y="0"/>
                    <a:pt x="244" y="6"/>
                    <a:pt x="271" y="18"/>
                  </a:cubicBezTo>
                  <a:cubicBezTo>
                    <a:pt x="278" y="21"/>
                    <a:pt x="279" y="24"/>
                    <a:pt x="276" y="31"/>
                  </a:cubicBezTo>
                  <a:lnTo>
                    <a:pt x="269" y="52"/>
                  </a:lnTo>
                  <a:cubicBezTo>
                    <a:pt x="267" y="58"/>
                    <a:pt x="262" y="59"/>
                    <a:pt x="256" y="56"/>
                  </a:cubicBezTo>
                  <a:cubicBezTo>
                    <a:pt x="236" y="48"/>
                    <a:pt x="205" y="42"/>
                    <a:pt x="183" y="42"/>
                  </a:cubicBezTo>
                  <a:cubicBezTo>
                    <a:pt x="97" y="42"/>
                    <a:pt x="54" y="110"/>
                    <a:pt x="54" y="192"/>
                  </a:cubicBezTo>
                  <a:cubicBezTo>
                    <a:pt x="54" y="273"/>
                    <a:pt x="89" y="345"/>
                    <a:pt x="173" y="345"/>
                  </a:cubicBezTo>
                  <a:cubicBezTo>
                    <a:pt x="197" y="345"/>
                    <a:pt x="223" y="341"/>
                    <a:pt x="242" y="332"/>
                  </a:cubicBezTo>
                  <a:lnTo>
                    <a:pt x="242" y="204"/>
                  </a:lnTo>
                  <a:lnTo>
                    <a:pt x="186" y="2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0EAAC800-CBDA-420F-8E27-8669B68C0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3376"/>
              <a:ext cx="118" cy="224"/>
            </a:xfrm>
            <a:custGeom>
              <a:avLst/>
              <a:gdLst>
                <a:gd name="T0" fmla="*/ 62 w 196"/>
                <a:gd name="T1" fmla="*/ 372 h 372"/>
                <a:gd name="T2" fmla="*/ 62 w 196"/>
                <a:gd name="T3" fmla="*/ 372 h 372"/>
                <a:gd name="T4" fmla="*/ 13 w 196"/>
                <a:gd name="T5" fmla="*/ 357 h 372"/>
                <a:gd name="T6" fmla="*/ 0 w 196"/>
                <a:gd name="T7" fmla="*/ 313 h 372"/>
                <a:gd name="T8" fmla="*/ 0 w 196"/>
                <a:gd name="T9" fmla="*/ 11 h 372"/>
                <a:gd name="T10" fmla="*/ 10 w 196"/>
                <a:gd name="T11" fmla="*/ 0 h 372"/>
                <a:gd name="T12" fmla="*/ 39 w 196"/>
                <a:gd name="T13" fmla="*/ 0 h 372"/>
                <a:gd name="T14" fmla="*/ 50 w 196"/>
                <a:gd name="T15" fmla="*/ 11 h 372"/>
                <a:gd name="T16" fmla="*/ 50 w 196"/>
                <a:gd name="T17" fmla="*/ 311 h 372"/>
                <a:gd name="T18" fmla="*/ 55 w 196"/>
                <a:gd name="T19" fmla="*/ 327 h 372"/>
                <a:gd name="T20" fmla="*/ 71 w 196"/>
                <a:gd name="T21" fmla="*/ 332 h 372"/>
                <a:gd name="T22" fmla="*/ 186 w 196"/>
                <a:gd name="T23" fmla="*/ 332 h 372"/>
                <a:gd name="T24" fmla="*/ 196 w 196"/>
                <a:gd name="T25" fmla="*/ 341 h 372"/>
                <a:gd name="T26" fmla="*/ 196 w 196"/>
                <a:gd name="T27" fmla="*/ 364 h 372"/>
                <a:gd name="T28" fmla="*/ 186 w 196"/>
                <a:gd name="T29" fmla="*/ 372 h 372"/>
                <a:gd name="T30" fmla="*/ 62 w 196"/>
                <a:gd name="T31" fmla="*/ 37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372">
                  <a:moveTo>
                    <a:pt x="62" y="372"/>
                  </a:moveTo>
                  <a:lnTo>
                    <a:pt x="62" y="372"/>
                  </a:lnTo>
                  <a:cubicBezTo>
                    <a:pt x="39" y="372"/>
                    <a:pt x="24" y="367"/>
                    <a:pt x="13" y="357"/>
                  </a:cubicBezTo>
                  <a:cubicBezTo>
                    <a:pt x="4" y="348"/>
                    <a:pt x="0" y="333"/>
                    <a:pt x="0" y="313"/>
                  </a:cubicBezTo>
                  <a:lnTo>
                    <a:pt x="0" y="11"/>
                  </a:lnTo>
                  <a:cubicBezTo>
                    <a:pt x="0" y="4"/>
                    <a:pt x="3" y="0"/>
                    <a:pt x="10" y="0"/>
                  </a:cubicBezTo>
                  <a:lnTo>
                    <a:pt x="39" y="0"/>
                  </a:lnTo>
                  <a:cubicBezTo>
                    <a:pt x="47" y="0"/>
                    <a:pt x="50" y="2"/>
                    <a:pt x="50" y="11"/>
                  </a:cubicBezTo>
                  <a:lnTo>
                    <a:pt x="50" y="311"/>
                  </a:lnTo>
                  <a:cubicBezTo>
                    <a:pt x="50" y="318"/>
                    <a:pt x="51" y="324"/>
                    <a:pt x="55" y="327"/>
                  </a:cubicBezTo>
                  <a:cubicBezTo>
                    <a:pt x="58" y="331"/>
                    <a:pt x="63" y="332"/>
                    <a:pt x="71" y="332"/>
                  </a:cubicBezTo>
                  <a:lnTo>
                    <a:pt x="186" y="332"/>
                  </a:lnTo>
                  <a:cubicBezTo>
                    <a:pt x="193" y="332"/>
                    <a:pt x="196" y="334"/>
                    <a:pt x="196" y="341"/>
                  </a:cubicBezTo>
                  <a:lnTo>
                    <a:pt x="196" y="364"/>
                  </a:lnTo>
                  <a:cubicBezTo>
                    <a:pt x="196" y="370"/>
                    <a:pt x="193" y="372"/>
                    <a:pt x="186" y="372"/>
                  </a:cubicBezTo>
                  <a:lnTo>
                    <a:pt x="62" y="37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C45C86F0-18A3-415C-806C-B16C11032F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16" y="3372"/>
              <a:ext cx="189" cy="232"/>
            </a:xfrm>
            <a:custGeom>
              <a:avLst/>
              <a:gdLst>
                <a:gd name="T0" fmla="*/ 157 w 312"/>
                <a:gd name="T1" fmla="*/ 42 h 385"/>
                <a:gd name="T2" fmla="*/ 157 w 312"/>
                <a:gd name="T3" fmla="*/ 42 h 385"/>
                <a:gd name="T4" fmla="*/ 53 w 312"/>
                <a:gd name="T5" fmla="*/ 193 h 385"/>
                <a:gd name="T6" fmla="*/ 156 w 312"/>
                <a:gd name="T7" fmla="*/ 344 h 385"/>
                <a:gd name="T8" fmla="*/ 259 w 312"/>
                <a:gd name="T9" fmla="*/ 192 h 385"/>
                <a:gd name="T10" fmla="*/ 157 w 312"/>
                <a:gd name="T11" fmla="*/ 42 h 385"/>
                <a:gd name="T12" fmla="*/ 157 w 312"/>
                <a:gd name="T13" fmla="*/ 42 h 385"/>
                <a:gd name="T14" fmla="*/ 153 w 312"/>
                <a:gd name="T15" fmla="*/ 385 h 385"/>
                <a:gd name="T16" fmla="*/ 153 w 312"/>
                <a:gd name="T17" fmla="*/ 385 h 385"/>
                <a:gd name="T18" fmla="*/ 0 w 312"/>
                <a:gd name="T19" fmla="*/ 194 h 385"/>
                <a:gd name="T20" fmla="*/ 158 w 312"/>
                <a:gd name="T21" fmla="*/ 0 h 385"/>
                <a:gd name="T22" fmla="*/ 312 w 312"/>
                <a:gd name="T23" fmla="*/ 191 h 385"/>
                <a:gd name="T24" fmla="*/ 153 w 312"/>
                <a:gd name="T25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2" h="385">
                  <a:moveTo>
                    <a:pt x="157" y="42"/>
                  </a:moveTo>
                  <a:lnTo>
                    <a:pt x="157" y="42"/>
                  </a:lnTo>
                  <a:cubicBezTo>
                    <a:pt x="95" y="42"/>
                    <a:pt x="53" y="103"/>
                    <a:pt x="53" y="193"/>
                  </a:cubicBezTo>
                  <a:cubicBezTo>
                    <a:pt x="53" y="287"/>
                    <a:pt x="91" y="344"/>
                    <a:pt x="156" y="344"/>
                  </a:cubicBezTo>
                  <a:cubicBezTo>
                    <a:pt x="217" y="344"/>
                    <a:pt x="259" y="285"/>
                    <a:pt x="259" y="192"/>
                  </a:cubicBezTo>
                  <a:cubicBezTo>
                    <a:pt x="259" y="97"/>
                    <a:pt x="223" y="42"/>
                    <a:pt x="157" y="42"/>
                  </a:cubicBezTo>
                  <a:lnTo>
                    <a:pt x="157" y="42"/>
                  </a:lnTo>
                  <a:close/>
                  <a:moveTo>
                    <a:pt x="153" y="385"/>
                  </a:moveTo>
                  <a:lnTo>
                    <a:pt x="153" y="385"/>
                  </a:lnTo>
                  <a:cubicBezTo>
                    <a:pt x="57" y="385"/>
                    <a:pt x="0" y="312"/>
                    <a:pt x="0" y="194"/>
                  </a:cubicBezTo>
                  <a:cubicBezTo>
                    <a:pt x="0" y="77"/>
                    <a:pt x="64" y="0"/>
                    <a:pt x="158" y="0"/>
                  </a:cubicBezTo>
                  <a:cubicBezTo>
                    <a:pt x="258" y="0"/>
                    <a:pt x="312" y="78"/>
                    <a:pt x="312" y="191"/>
                  </a:cubicBezTo>
                  <a:cubicBezTo>
                    <a:pt x="312" y="313"/>
                    <a:pt x="244" y="385"/>
                    <a:pt x="153" y="385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B987AE02-ABBA-41A5-8856-42477039EC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56" y="3376"/>
              <a:ext cx="147" cy="224"/>
            </a:xfrm>
            <a:custGeom>
              <a:avLst/>
              <a:gdLst>
                <a:gd name="T0" fmla="*/ 98 w 243"/>
                <a:gd name="T1" fmla="*/ 334 h 372"/>
                <a:gd name="T2" fmla="*/ 98 w 243"/>
                <a:gd name="T3" fmla="*/ 334 h 372"/>
                <a:gd name="T4" fmla="*/ 192 w 243"/>
                <a:gd name="T5" fmla="*/ 265 h 372"/>
                <a:gd name="T6" fmla="*/ 96 w 243"/>
                <a:gd name="T7" fmla="*/ 195 h 372"/>
                <a:gd name="T8" fmla="*/ 51 w 243"/>
                <a:gd name="T9" fmla="*/ 195 h 372"/>
                <a:gd name="T10" fmla="*/ 51 w 243"/>
                <a:gd name="T11" fmla="*/ 334 h 372"/>
                <a:gd name="T12" fmla="*/ 98 w 243"/>
                <a:gd name="T13" fmla="*/ 334 h 372"/>
                <a:gd name="T14" fmla="*/ 98 w 243"/>
                <a:gd name="T15" fmla="*/ 334 h 372"/>
                <a:gd name="T16" fmla="*/ 51 w 243"/>
                <a:gd name="T17" fmla="*/ 159 h 372"/>
                <a:gd name="T18" fmla="*/ 51 w 243"/>
                <a:gd name="T19" fmla="*/ 159 h 372"/>
                <a:gd name="T20" fmla="*/ 87 w 243"/>
                <a:gd name="T21" fmla="*/ 159 h 372"/>
                <a:gd name="T22" fmla="*/ 165 w 243"/>
                <a:gd name="T23" fmla="*/ 94 h 372"/>
                <a:gd name="T24" fmla="*/ 85 w 243"/>
                <a:gd name="T25" fmla="*/ 38 h 372"/>
                <a:gd name="T26" fmla="*/ 51 w 243"/>
                <a:gd name="T27" fmla="*/ 38 h 372"/>
                <a:gd name="T28" fmla="*/ 51 w 243"/>
                <a:gd name="T29" fmla="*/ 159 h 372"/>
                <a:gd name="T30" fmla="*/ 51 w 243"/>
                <a:gd name="T31" fmla="*/ 159 h 372"/>
                <a:gd name="T32" fmla="*/ 243 w 243"/>
                <a:gd name="T33" fmla="*/ 265 h 372"/>
                <a:gd name="T34" fmla="*/ 243 w 243"/>
                <a:gd name="T35" fmla="*/ 265 h 372"/>
                <a:gd name="T36" fmla="*/ 103 w 243"/>
                <a:gd name="T37" fmla="*/ 372 h 372"/>
                <a:gd name="T38" fmla="*/ 12 w 243"/>
                <a:gd name="T39" fmla="*/ 372 h 372"/>
                <a:gd name="T40" fmla="*/ 0 w 243"/>
                <a:gd name="T41" fmla="*/ 360 h 372"/>
                <a:gd name="T42" fmla="*/ 0 w 243"/>
                <a:gd name="T43" fmla="*/ 12 h 372"/>
                <a:gd name="T44" fmla="*/ 12 w 243"/>
                <a:gd name="T45" fmla="*/ 0 h 372"/>
                <a:gd name="T46" fmla="*/ 88 w 243"/>
                <a:gd name="T47" fmla="*/ 0 h 372"/>
                <a:gd name="T48" fmla="*/ 215 w 243"/>
                <a:gd name="T49" fmla="*/ 91 h 372"/>
                <a:gd name="T50" fmla="*/ 150 w 243"/>
                <a:gd name="T51" fmla="*/ 172 h 372"/>
                <a:gd name="T52" fmla="*/ 150 w 243"/>
                <a:gd name="T53" fmla="*/ 173 h 372"/>
                <a:gd name="T54" fmla="*/ 243 w 243"/>
                <a:gd name="T55" fmla="*/ 265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3" h="372">
                  <a:moveTo>
                    <a:pt x="98" y="334"/>
                  </a:moveTo>
                  <a:lnTo>
                    <a:pt x="98" y="334"/>
                  </a:lnTo>
                  <a:cubicBezTo>
                    <a:pt x="146" y="334"/>
                    <a:pt x="191" y="324"/>
                    <a:pt x="192" y="265"/>
                  </a:cubicBezTo>
                  <a:cubicBezTo>
                    <a:pt x="192" y="208"/>
                    <a:pt x="143" y="195"/>
                    <a:pt x="96" y="195"/>
                  </a:cubicBezTo>
                  <a:lnTo>
                    <a:pt x="51" y="195"/>
                  </a:lnTo>
                  <a:lnTo>
                    <a:pt x="51" y="334"/>
                  </a:lnTo>
                  <a:lnTo>
                    <a:pt x="98" y="334"/>
                  </a:lnTo>
                  <a:lnTo>
                    <a:pt x="98" y="334"/>
                  </a:lnTo>
                  <a:close/>
                  <a:moveTo>
                    <a:pt x="51" y="159"/>
                  </a:moveTo>
                  <a:lnTo>
                    <a:pt x="51" y="159"/>
                  </a:lnTo>
                  <a:lnTo>
                    <a:pt x="87" y="159"/>
                  </a:lnTo>
                  <a:cubicBezTo>
                    <a:pt x="125" y="159"/>
                    <a:pt x="165" y="149"/>
                    <a:pt x="165" y="94"/>
                  </a:cubicBezTo>
                  <a:cubicBezTo>
                    <a:pt x="165" y="48"/>
                    <a:pt x="129" y="38"/>
                    <a:pt x="85" y="38"/>
                  </a:cubicBezTo>
                  <a:lnTo>
                    <a:pt x="51" y="38"/>
                  </a:lnTo>
                  <a:lnTo>
                    <a:pt x="51" y="159"/>
                  </a:lnTo>
                  <a:lnTo>
                    <a:pt x="51" y="159"/>
                  </a:lnTo>
                  <a:close/>
                  <a:moveTo>
                    <a:pt x="243" y="265"/>
                  </a:moveTo>
                  <a:lnTo>
                    <a:pt x="243" y="265"/>
                  </a:lnTo>
                  <a:cubicBezTo>
                    <a:pt x="243" y="350"/>
                    <a:pt x="178" y="372"/>
                    <a:pt x="103" y="372"/>
                  </a:cubicBezTo>
                  <a:lnTo>
                    <a:pt x="12" y="372"/>
                  </a:lnTo>
                  <a:cubicBezTo>
                    <a:pt x="5" y="372"/>
                    <a:pt x="0" y="369"/>
                    <a:pt x="0" y="360"/>
                  </a:cubicBezTo>
                  <a:lnTo>
                    <a:pt x="0" y="12"/>
                  </a:lnTo>
                  <a:cubicBezTo>
                    <a:pt x="0" y="3"/>
                    <a:pt x="5" y="0"/>
                    <a:pt x="12" y="0"/>
                  </a:cubicBezTo>
                  <a:lnTo>
                    <a:pt x="88" y="0"/>
                  </a:lnTo>
                  <a:cubicBezTo>
                    <a:pt x="164" y="0"/>
                    <a:pt x="215" y="25"/>
                    <a:pt x="215" y="91"/>
                  </a:cubicBezTo>
                  <a:cubicBezTo>
                    <a:pt x="215" y="130"/>
                    <a:pt x="192" y="164"/>
                    <a:pt x="150" y="172"/>
                  </a:cubicBezTo>
                  <a:lnTo>
                    <a:pt x="150" y="173"/>
                  </a:lnTo>
                  <a:cubicBezTo>
                    <a:pt x="203" y="175"/>
                    <a:pt x="243" y="209"/>
                    <a:pt x="243" y="265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6AD01C56-AA61-400E-8EDE-4B8782A16E9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44" y="3376"/>
              <a:ext cx="194" cy="224"/>
            </a:xfrm>
            <a:custGeom>
              <a:avLst/>
              <a:gdLst>
                <a:gd name="T0" fmla="*/ 216 w 322"/>
                <a:gd name="T1" fmla="*/ 225 h 372"/>
                <a:gd name="T2" fmla="*/ 216 w 322"/>
                <a:gd name="T3" fmla="*/ 225 h 372"/>
                <a:gd name="T4" fmla="*/ 160 w 322"/>
                <a:gd name="T5" fmla="*/ 64 h 372"/>
                <a:gd name="T6" fmla="*/ 160 w 322"/>
                <a:gd name="T7" fmla="*/ 64 h 372"/>
                <a:gd name="T8" fmla="*/ 102 w 322"/>
                <a:gd name="T9" fmla="*/ 225 h 372"/>
                <a:gd name="T10" fmla="*/ 216 w 322"/>
                <a:gd name="T11" fmla="*/ 225 h 372"/>
                <a:gd name="T12" fmla="*/ 216 w 322"/>
                <a:gd name="T13" fmla="*/ 225 h 372"/>
                <a:gd name="T14" fmla="*/ 51 w 322"/>
                <a:gd name="T15" fmla="*/ 364 h 372"/>
                <a:gd name="T16" fmla="*/ 51 w 322"/>
                <a:gd name="T17" fmla="*/ 364 h 372"/>
                <a:gd name="T18" fmla="*/ 38 w 322"/>
                <a:gd name="T19" fmla="*/ 372 h 372"/>
                <a:gd name="T20" fmla="*/ 9 w 322"/>
                <a:gd name="T21" fmla="*/ 372 h 372"/>
                <a:gd name="T22" fmla="*/ 2 w 322"/>
                <a:gd name="T23" fmla="*/ 361 h 372"/>
                <a:gd name="T24" fmla="*/ 138 w 322"/>
                <a:gd name="T25" fmla="*/ 7 h 372"/>
                <a:gd name="T26" fmla="*/ 148 w 322"/>
                <a:gd name="T27" fmla="*/ 0 h 372"/>
                <a:gd name="T28" fmla="*/ 176 w 322"/>
                <a:gd name="T29" fmla="*/ 0 h 372"/>
                <a:gd name="T30" fmla="*/ 186 w 322"/>
                <a:gd name="T31" fmla="*/ 6 h 372"/>
                <a:gd name="T32" fmla="*/ 320 w 322"/>
                <a:gd name="T33" fmla="*/ 361 h 372"/>
                <a:gd name="T34" fmla="*/ 313 w 322"/>
                <a:gd name="T35" fmla="*/ 372 h 372"/>
                <a:gd name="T36" fmla="*/ 278 w 322"/>
                <a:gd name="T37" fmla="*/ 372 h 372"/>
                <a:gd name="T38" fmla="*/ 265 w 322"/>
                <a:gd name="T39" fmla="*/ 364 h 372"/>
                <a:gd name="T40" fmla="*/ 229 w 322"/>
                <a:gd name="T41" fmla="*/ 262 h 372"/>
                <a:gd name="T42" fmla="*/ 89 w 322"/>
                <a:gd name="T43" fmla="*/ 262 h 372"/>
                <a:gd name="T44" fmla="*/ 51 w 322"/>
                <a:gd name="T45" fmla="*/ 36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2" h="372">
                  <a:moveTo>
                    <a:pt x="216" y="225"/>
                  </a:moveTo>
                  <a:lnTo>
                    <a:pt x="216" y="225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02" y="225"/>
                  </a:lnTo>
                  <a:lnTo>
                    <a:pt x="216" y="225"/>
                  </a:lnTo>
                  <a:lnTo>
                    <a:pt x="216" y="225"/>
                  </a:lnTo>
                  <a:close/>
                  <a:moveTo>
                    <a:pt x="51" y="364"/>
                  </a:moveTo>
                  <a:lnTo>
                    <a:pt x="51" y="364"/>
                  </a:lnTo>
                  <a:cubicBezTo>
                    <a:pt x="49" y="370"/>
                    <a:pt x="46" y="372"/>
                    <a:pt x="38" y="372"/>
                  </a:cubicBezTo>
                  <a:lnTo>
                    <a:pt x="9" y="372"/>
                  </a:lnTo>
                  <a:cubicBezTo>
                    <a:pt x="1" y="372"/>
                    <a:pt x="0" y="368"/>
                    <a:pt x="2" y="361"/>
                  </a:cubicBezTo>
                  <a:lnTo>
                    <a:pt x="138" y="7"/>
                  </a:lnTo>
                  <a:cubicBezTo>
                    <a:pt x="140" y="3"/>
                    <a:pt x="143" y="0"/>
                    <a:pt x="148" y="0"/>
                  </a:cubicBezTo>
                  <a:lnTo>
                    <a:pt x="176" y="0"/>
                  </a:lnTo>
                  <a:cubicBezTo>
                    <a:pt x="181" y="0"/>
                    <a:pt x="184" y="2"/>
                    <a:pt x="186" y="6"/>
                  </a:cubicBezTo>
                  <a:lnTo>
                    <a:pt x="320" y="361"/>
                  </a:lnTo>
                  <a:cubicBezTo>
                    <a:pt x="322" y="368"/>
                    <a:pt x="321" y="372"/>
                    <a:pt x="313" y="372"/>
                  </a:cubicBezTo>
                  <a:lnTo>
                    <a:pt x="278" y="372"/>
                  </a:lnTo>
                  <a:cubicBezTo>
                    <a:pt x="270" y="372"/>
                    <a:pt x="267" y="370"/>
                    <a:pt x="265" y="364"/>
                  </a:cubicBezTo>
                  <a:lnTo>
                    <a:pt x="229" y="262"/>
                  </a:lnTo>
                  <a:lnTo>
                    <a:pt x="89" y="262"/>
                  </a:lnTo>
                  <a:lnTo>
                    <a:pt x="51" y="36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5">
              <a:extLst>
                <a:ext uri="{FF2B5EF4-FFF2-40B4-BE49-F238E27FC236}">
                  <a16:creationId xmlns:a16="http://schemas.microsoft.com/office/drawing/2014/main" id="{68084AD7-370B-4FB1-9C84-0784A11B76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93" y="3376"/>
              <a:ext cx="118" cy="224"/>
            </a:xfrm>
            <a:custGeom>
              <a:avLst/>
              <a:gdLst>
                <a:gd name="T0" fmla="*/ 62 w 197"/>
                <a:gd name="T1" fmla="*/ 372 h 372"/>
                <a:gd name="T2" fmla="*/ 62 w 197"/>
                <a:gd name="T3" fmla="*/ 372 h 372"/>
                <a:gd name="T4" fmla="*/ 14 w 197"/>
                <a:gd name="T5" fmla="*/ 357 h 372"/>
                <a:gd name="T6" fmla="*/ 0 w 197"/>
                <a:gd name="T7" fmla="*/ 313 h 372"/>
                <a:gd name="T8" fmla="*/ 0 w 197"/>
                <a:gd name="T9" fmla="*/ 11 h 372"/>
                <a:gd name="T10" fmla="*/ 11 w 197"/>
                <a:gd name="T11" fmla="*/ 0 h 372"/>
                <a:gd name="T12" fmla="*/ 40 w 197"/>
                <a:gd name="T13" fmla="*/ 0 h 372"/>
                <a:gd name="T14" fmla="*/ 51 w 197"/>
                <a:gd name="T15" fmla="*/ 11 h 372"/>
                <a:gd name="T16" fmla="*/ 51 w 197"/>
                <a:gd name="T17" fmla="*/ 311 h 372"/>
                <a:gd name="T18" fmla="*/ 55 w 197"/>
                <a:gd name="T19" fmla="*/ 327 h 372"/>
                <a:gd name="T20" fmla="*/ 72 w 197"/>
                <a:gd name="T21" fmla="*/ 332 h 372"/>
                <a:gd name="T22" fmla="*/ 186 w 197"/>
                <a:gd name="T23" fmla="*/ 332 h 372"/>
                <a:gd name="T24" fmla="*/ 197 w 197"/>
                <a:gd name="T25" fmla="*/ 341 h 372"/>
                <a:gd name="T26" fmla="*/ 197 w 197"/>
                <a:gd name="T27" fmla="*/ 364 h 372"/>
                <a:gd name="T28" fmla="*/ 186 w 197"/>
                <a:gd name="T29" fmla="*/ 372 h 372"/>
                <a:gd name="T30" fmla="*/ 62 w 197"/>
                <a:gd name="T31" fmla="*/ 37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372">
                  <a:moveTo>
                    <a:pt x="62" y="372"/>
                  </a:moveTo>
                  <a:lnTo>
                    <a:pt x="62" y="372"/>
                  </a:lnTo>
                  <a:cubicBezTo>
                    <a:pt x="39" y="372"/>
                    <a:pt x="24" y="367"/>
                    <a:pt x="14" y="357"/>
                  </a:cubicBezTo>
                  <a:cubicBezTo>
                    <a:pt x="5" y="348"/>
                    <a:pt x="0" y="333"/>
                    <a:pt x="0" y="313"/>
                  </a:cubicBezTo>
                  <a:lnTo>
                    <a:pt x="0" y="11"/>
                  </a:lnTo>
                  <a:cubicBezTo>
                    <a:pt x="0" y="4"/>
                    <a:pt x="4" y="0"/>
                    <a:pt x="11" y="0"/>
                  </a:cubicBezTo>
                  <a:lnTo>
                    <a:pt x="40" y="0"/>
                  </a:lnTo>
                  <a:cubicBezTo>
                    <a:pt x="47" y="0"/>
                    <a:pt x="51" y="2"/>
                    <a:pt x="51" y="11"/>
                  </a:cubicBezTo>
                  <a:lnTo>
                    <a:pt x="51" y="311"/>
                  </a:lnTo>
                  <a:cubicBezTo>
                    <a:pt x="51" y="318"/>
                    <a:pt x="52" y="324"/>
                    <a:pt x="55" y="327"/>
                  </a:cubicBezTo>
                  <a:cubicBezTo>
                    <a:pt x="58" y="331"/>
                    <a:pt x="64" y="332"/>
                    <a:pt x="72" y="332"/>
                  </a:cubicBezTo>
                  <a:lnTo>
                    <a:pt x="186" y="332"/>
                  </a:lnTo>
                  <a:cubicBezTo>
                    <a:pt x="193" y="332"/>
                    <a:pt x="197" y="334"/>
                    <a:pt x="197" y="341"/>
                  </a:cubicBezTo>
                  <a:lnTo>
                    <a:pt x="197" y="364"/>
                  </a:lnTo>
                  <a:cubicBezTo>
                    <a:pt x="197" y="370"/>
                    <a:pt x="193" y="372"/>
                    <a:pt x="186" y="372"/>
                  </a:cubicBezTo>
                  <a:lnTo>
                    <a:pt x="62" y="37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416355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0A8BF4F1-FFC7-4FFF-BB76-E153A209A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39347-1E1B-44A1-8B67-A0F11AAF8508}" type="datetime1">
              <a:rPr lang="en-GB" smtClean="0"/>
              <a:t>23/12/2021</a:t>
            </a:fld>
            <a:endParaRPr lang="en-GB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1F06293E-86E6-4FCA-8559-E895633C6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872032BF-9969-45A1-8479-6BBCB999B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1CA9A68A-3A7D-4351-A637-CF6C35F0A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8B723F7F-A051-424B-8A6C-4635BEA38D56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6026F968-CE22-49E8-B84D-89208C79FDC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09E4B348-BC53-477C-AF23-B010E92A9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1AD09C00-116D-44B1-BEF6-C1896E6A3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1BD20D0D-DCB7-4F85-BCE3-91726ED8BC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B0FA9ACF-017A-4A9B-ACD2-F70C4674D0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BC97B95B-A3D9-4D61-A65D-4CAD7D9ACE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93C8AFFD-7298-412E-BD40-90C9E3F07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4DBC905B-571E-4C63-BB89-276162A289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B65F4738-0A46-46FE-9E4C-ED460611FE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F12A91C3-B4C5-41CE-AA56-2BF9739713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3EA8B065-9230-4793-9062-C2C263F5E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84C23486-48B3-44FC-9DE0-F3E914E014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32C32B68-1357-4F03-902A-A30B63DDFF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654B86F4-F15C-480D-9F90-E2A05C29F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78D524B8-5969-4709-9028-3C7B63DEF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9F6AB45B-4FD3-4885-A2DC-420CB662E5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8C40B81B-033B-4A2F-840F-0F20D081B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1">
              <a:extLst>
                <a:ext uri="{FF2B5EF4-FFF2-40B4-BE49-F238E27FC236}">
                  <a16:creationId xmlns:a16="http://schemas.microsoft.com/office/drawing/2014/main" id="{F9CBD860-75A7-4AD3-AE32-2F71D6E015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2">
              <a:extLst>
                <a:ext uri="{FF2B5EF4-FFF2-40B4-BE49-F238E27FC236}">
                  <a16:creationId xmlns:a16="http://schemas.microsoft.com/office/drawing/2014/main" id="{7D8320AF-AB29-436B-83FB-2240074880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3">
              <a:extLst>
                <a:ext uri="{FF2B5EF4-FFF2-40B4-BE49-F238E27FC236}">
                  <a16:creationId xmlns:a16="http://schemas.microsoft.com/office/drawing/2014/main" id="{94524859-BCFE-4E08-ABA6-76C35E0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4">
              <a:extLst>
                <a:ext uri="{FF2B5EF4-FFF2-40B4-BE49-F238E27FC236}">
                  <a16:creationId xmlns:a16="http://schemas.microsoft.com/office/drawing/2014/main" id="{F462D6AC-2E3D-4562-936D-6C4AFB9112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5">
              <a:extLst>
                <a:ext uri="{FF2B5EF4-FFF2-40B4-BE49-F238E27FC236}">
                  <a16:creationId xmlns:a16="http://schemas.microsoft.com/office/drawing/2014/main" id="{32A10C88-5F68-484C-A116-F749153B84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6">
              <a:extLst>
                <a:ext uri="{FF2B5EF4-FFF2-40B4-BE49-F238E27FC236}">
                  <a16:creationId xmlns:a16="http://schemas.microsoft.com/office/drawing/2014/main" id="{35FAA134-850B-450E-98DB-1B3AF743BF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id="{0EB0386F-30B0-4388-8CE4-0B123D0E7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8">
              <a:extLst>
                <a:ext uri="{FF2B5EF4-FFF2-40B4-BE49-F238E27FC236}">
                  <a16:creationId xmlns:a16="http://schemas.microsoft.com/office/drawing/2014/main" id="{72D6CFEC-9D23-4D8C-88E5-3D504ECFA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9">
              <a:extLst>
                <a:ext uri="{FF2B5EF4-FFF2-40B4-BE49-F238E27FC236}">
                  <a16:creationId xmlns:a16="http://schemas.microsoft.com/office/drawing/2014/main" id="{5364BAC9-430D-4CCE-A672-E24858B654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0">
              <a:extLst>
                <a:ext uri="{FF2B5EF4-FFF2-40B4-BE49-F238E27FC236}">
                  <a16:creationId xmlns:a16="http://schemas.microsoft.com/office/drawing/2014/main" id="{7D47D5F2-EC11-46AD-9D11-8B679C57B6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1">
              <a:extLst>
                <a:ext uri="{FF2B5EF4-FFF2-40B4-BE49-F238E27FC236}">
                  <a16:creationId xmlns:a16="http://schemas.microsoft.com/office/drawing/2014/main" id="{F76E809D-BC79-4296-B4BF-EAE192EDC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2">
              <a:extLst>
                <a:ext uri="{FF2B5EF4-FFF2-40B4-BE49-F238E27FC236}">
                  <a16:creationId xmlns:a16="http://schemas.microsoft.com/office/drawing/2014/main" id="{0462B7BC-468D-4BDB-89BE-3BBFC284D7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3">
              <a:extLst>
                <a:ext uri="{FF2B5EF4-FFF2-40B4-BE49-F238E27FC236}">
                  <a16:creationId xmlns:a16="http://schemas.microsoft.com/office/drawing/2014/main" id="{25C8CC05-DE8C-422B-8A9D-7E4A832A97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4">
              <a:extLst>
                <a:ext uri="{FF2B5EF4-FFF2-40B4-BE49-F238E27FC236}">
                  <a16:creationId xmlns:a16="http://schemas.microsoft.com/office/drawing/2014/main" id="{F7AAE236-FF45-43FD-AC9E-870465E474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48141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D6515BFE-A2D2-4E56-8EA9-BC97BCEE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E68B0-6BBE-42B0-A9B6-779C36B17C4D}" type="datetime1">
              <a:rPr lang="en-GB" smtClean="0"/>
              <a:t>23/12/2021</a:t>
            </a:fld>
            <a:endParaRPr lang="en-GB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BD9CAC1C-6371-4ACB-8F95-B78B10D05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A584F3D8-3E45-41B9-BBC6-13C75591C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735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 столбц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000" y="1152000"/>
            <a:ext cx="2160000" cy="503925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F5B3657-F2AE-455A-BF81-1A0C2ACECD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26412" y="1152525"/>
            <a:ext cx="2160588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6A983D98-E0AB-429A-9EC2-B50D4216D6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21412" y="1152525"/>
            <a:ext cx="2160588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755213BF-EF6D-45DC-A01B-DE6C2F23A6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6412" y="1148060"/>
            <a:ext cx="2160588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id="{77D6BBBA-F4A3-45D4-91BC-A405FFDC7C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611412" y="1152525"/>
            <a:ext cx="2160588" cy="5038725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9748372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 rot="5400000">
            <a:off x="2666997" y="-2666998"/>
            <a:ext cx="6858003" cy="12192001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89000"/>
                </a:srgbClr>
              </a:gs>
              <a:gs pos="100000">
                <a:schemeClr val="bg1">
                  <a:alpha val="0"/>
                </a:schemeClr>
              </a:gs>
              <a:gs pos="62000">
                <a:srgbClr val="FFFFFF">
                  <a:alpha val="65000"/>
                </a:srgbClr>
              </a:gs>
            </a:gsLst>
            <a:lin ang="1878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ucida Sans Unicod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001" y="480001"/>
            <a:ext cx="11092340" cy="4708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8855" y="864000"/>
            <a:ext cx="10241039" cy="3876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133">
                <a:solidFill>
                  <a:schemeClr val="tx1"/>
                </a:solidFill>
              </a:defRPr>
            </a:lvl1pPr>
            <a:lvl2pPr marL="431789" indent="0">
              <a:buNone/>
              <a:defRPr/>
            </a:lvl2pPr>
            <a:lvl3pPr marL="863578" indent="0">
              <a:buNone/>
              <a:defRPr/>
            </a:lvl3pPr>
            <a:lvl4pPr marL="1295368" indent="0">
              <a:buNone/>
              <a:defRPr/>
            </a:lvl4pPr>
            <a:lvl5pPr marL="1727157" indent="0">
              <a:buNone/>
              <a:defRPr/>
            </a:lvl5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6" name="Rounded Rectangle 5"/>
          <p:cNvSpPr/>
          <p:nvPr userDrawn="1"/>
        </p:nvSpPr>
        <p:spPr bwMode="auto">
          <a:xfrm rot="2700000">
            <a:off x="9666816" y="5635713"/>
            <a:ext cx="1920000" cy="1920000"/>
          </a:xfrm>
          <a:prstGeom prst="roundRect">
            <a:avLst>
              <a:gd name="adj" fmla="val 7453"/>
            </a:avLst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1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7" name="Picture 6" descr="HEINEKEN_HGP_Conference_Logo_RGB_FX_300dpi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5380" y="5576823"/>
            <a:ext cx="696649" cy="115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559043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4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727" b="1" i="0" baseline="0"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rgbClr val="38572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97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2261885"/>
            <a:ext cx="5400000" cy="516232"/>
          </a:xfrm>
        </p:spPr>
        <p:txBody>
          <a:bodyPr anchor="ctr" anchorCtr="0"/>
          <a:lstStyle>
            <a:lvl1pPr algn="l">
              <a:defRPr sz="3727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2880001"/>
            <a:ext cx="6480000" cy="720000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982" b="0">
                <a:solidFill>
                  <a:schemeClr val="bg1"/>
                </a:solidFill>
              </a:defRPr>
            </a:lvl1pPr>
            <a:lvl2pPr marL="425929" indent="0" algn="ctr">
              <a:buNone/>
              <a:defRPr sz="1863"/>
            </a:lvl2pPr>
            <a:lvl3pPr marL="851859" indent="0" algn="ctr">
              <a:buNone/>
              <a:defRPr sz="1677"/>
            </a:lvl3pPr>
            <a:lvl4pPr marL="1277788" indent="0" algn="ctr">
              <a:buNone/>
              <a:defRPr sz="1491"/>
            </a:lvl4pPr>
            <a:lvl5pPr marL="1703717" indent="0" algn="ctr">
              <a:buNone/>
              <a:defRPr sz="1491"/>
            </a:lvl5pPr>
            <a:lvl6pPr marL="2129646" indent="0" algn="ctr">
              <a:buNone/>
              <a:defRPr sz="1491"/>
            </a:lvl6pPr>
            <a:lvl7pPr marL="2555576" indent="0" algn="ctr">
              <a:buNone/>
              <a:defRPr sz="1491"/>
            </a:lvl7pPr>
            <a:lvl8pPr marL="2981504" indent="0" algn="ctr">
              <a:buNone/>
              <a:defRPr sz="1491"/>
            </a:lvl8pPr>
            <a:lvl9pPr marL="3407433" indent="0" algn="ctr">
              <a:buNone/>
              <a:defRPr sz="1491"/>
            </a:lvl9pPr>
          </a:lstStyle>
          <a:p>
            <a:r>
              <a:rPr lang="en-GB" noProof="0"/>
              <a:t>Click to add  subtitle</a:t>
            </a:r>
          </a:p>
        </p:txBody>
      </p:sp>
      <p:sp>
        <p:nvSpPr>
          <p:cNvPr id="9" name="Picture Placeholder 17"/>
          <p:cNvSpPr>
            <a:spLocks noGrp="1"/>
          </p:cNvSpPr>
          <p:nvPr>
            <p:ph type="pic" sz="quarter" idx="18" hasCustomPrompt="1"/>
          </p:nvPr>
        </p:nvSpPr>
        <p:spPr>
          <a:xfrm>
            <a:off x="6792000" y="0"/>
            <a:ext cx="5400001" cy="6858000"/>
          </a:xfrm>
          <a:custGeom>
            <a:avLst/>
            <a:gdLst>
              <a:gd name="connsiteX0" fmla="*/ 1 w 5400001"/>
              <a:gd name="connsiteY0" fmla="*/ 0 h 6858000"/>
              <a:gd name="connsiteX1" fmla="*/ 5400001 w 5400001"/>
              <a:gd name="connsiteY1" fmla="*/ 0 h 6858000"/>
              <a:gd name="connsiteX2" fmla="*/ 5400001 w 5400001"/>
              <a:gd name="connsiteY2" fmla="*/ 6858000 h 6858000"/>
              <a:gd name="connsiteX3" fmla="*/ 1 w 5400001"/>
              <a:gd name="connsiteY3" fmla="*/ 6858000 h 6858000"/>
              <a:gd name="connsiteX4" fmla="*/ 1 w 5400001"/>
              <a:gd name="connsiteY4" fmla="*/ 6857998 h 6858000"/>
              <a:gd name="connsiteX5" fmla="*/ 1440000 w 5400001"/>
              <a:gd name="connsiteY5" fmla="*/ 3429000 h 6858000"/>
              <a:gd name="connsiteX6" fmla="*/ 1 w 5400001"/>
              <a:gd name="connsiteY6" fmla="*/ 2 h 6858000"/>
              <a:gd name="connsiteX7" fmla="*/ 0 w 5400001"/>
              <a:gd name="connsiteY7" fmla="*/ 0 h 6858000"/>
              <a:gd name="connsiteX8" fmla="*/ 1 w 5400001"/>
              <a:gd name="connsiteY8" fmla="*/ 2 h 6858000"/>
              <a:gd name="connsiteX9" fmla="*/ 1 w 5400001"/>
              <a:gd name="connsiteY9" fmla="*/ 6857998 h 6858000"/>
              <a:gd name="connsiteX10" fmla="*/ 0 w 5400001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00001" h="6858000">
                <a:moveTo>
                  <a:pt x="1" y="0"/>
                </a:moveTo>
                <a:lnTo>
                  <a:pt x="5400001" y="0"/>
                </a:lnTo>
                <a:lnTo>
                  <a:pt x="5400001" y="6858000"/>
                </a:lnTo>
                <a:lnTo>
                  <a:pt x="1" y="6858000"/>
                </a:lnTo>
                <a:lnTo>
                  <a:pt x="1" y="6857998"/>
                </a:lnTo>
                <a:lnTo>
                  <a:pt x="1440000" y="3429000"/>
                </a:lnTo>
                <a:lnTo>
                  <a:pt x="1" y="2"/>
                </a:lnTo>
                <a:close/>
                <a:moveTo>
                  <a:pt x="0" y="0"/>
                </a:moveTo>
                <a:lnTo>
                  <a:pt x="1" y="2"/>
                </a:lnTo>
                <a:lnTo>
                  <a:pt x="1" y="6857998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83961" indent="0" algn="ctr">
              <a:buNone/>
              <a:defRPr baseline="0">
                <a:solidFill>
                  <a:srgbClr val="385723"/>
                </a:solidFill>
              </a:defRPr>
            </a:lvl1pPr>
          </a:lstStyle>
          <a:p>
            <a:r>
              <a:rPr lang="en-GB" noProof="0"/>
              <a:t>Click to add pictur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791999" y="1"/>
            <a:ext cx="1440001" cy="342900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6792001" y="3429000"/>
            <a:ext cx="1439999" cy="3428998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78454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9">
            <a:extLst>
              <a:ext uri="{FF2B5EF4-FFF2-40B4-BE49-F238E27FC236}">
                <a16:creationId xmlns:a16="http://schemas.microsoft.com/office/drawing/2014/main" id="{E90165FB-04C1-4375-8206-7501C42B9DEE}"/>
              </a:ext>
            </a:extLst>
          </p:cNvPr>
          <p:cNvSpPr>
            <a:spLocks/>
          </p:cNvSpPr>
          <p:nvPr userDrawn="1"/>
        </p:nvSpPr>
        <p:spPr bwMode="auto">
          <a:xfrm>
            <a:off x="8940025" y="3606237"/>
            <a:ext cx="3251975" cy="3251764"/>
          </a:xfrm>
          <a:custGeom>
            <a:avLst/>
            <a:gdLst>
              <a:gd name="T0" fmla="*/ 0 w 6826"/>
              <a:gd name="T1" fmla="*/ 6827 h 6827"/>
              <a:gd name="T2" fmla="*/ 0 w 6826"/>
              <a:gd name="T3" fmla="*/ 6827 h 6827"/>
              <a:gd name="T4" fmla="*/ 6826 w 6826"/>
              <a:gd name="T5" fmla="*/ 6827 h 6827"/>
              <a:gd name="T6" fmla="*/ 6826 w 6826"/>
              <a:gd name="T7" fmla="*/ 0 h 6827"/>
              <a:gd name="T8" fmla="*/ 0 w 6826"/>
              <a:gd name="T9" fmla="*/ 6827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26" h="6827">
                <a:moveTo>
                  <a:pt x="0" y="6827"/>
                </a:moveTo>
                <a:lnTo>
                  <a:pt x="0" y="6827"/>
                </a:lnTo>
                <a:lnTo>
                  <a:pt x="6826" y="6827"/>
                </a:lnTo>
                <a:lnTo>
                  <a:pt x="6826" y="0"/>
                </a:lnTo>
                <a:cubicBezTo>
                  <a:pt x="3056" y="0"/>
                  <a:pt x="0" y="3056"/>
                  <a:pt x="0" y="6827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17" name="Freeform 10">
            <a:extLst>
              <a:ext uri="{FF2B5EF4-FFF2-40B4-BE49-F238E27FC236}">
                <a16:creationId xmlns:a16="http://schemas.microsoft.com/office/drawing/2014/main" id="{DC96B47C-8B05-4C5C-AF5D-E289556EA30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7822480" y="1720800"/>
            <a:ext cx="3414822" cy="3415026"/>
          </a:xfrm>
          <a:custGeom>
            <a:avLst/>
            <a:gdLst>
              <a:gd name="T0" fmla="*/ 3585 w 7170"/>
              <a:gd name="T1" fmla="*/ 7170 h 7170"/>
              <a:gd name="T2" fmla="*/ 3585 w 7170"/>
              <a:gd name="T3" fmla="*/ 7170 h 7170"/>
              <a:gd name="T4" fmla="*/ 7170 w 7170"/>
              <a:gd name="T5" fmla="*/ 3585 h 7170"/>
              <a:gd name="T6" fmla="*/ 3585 w 7170"/>
              <a:gd name="T7" fmla="*/ 0 h 7170"/>
              <a:gd name="T8" fmla="*/ 0 w 7170"/>
              <a:gd name="T9" fmla="*/ 3585 h 7170"/>
              <a:gd name="T10" fmla="*/ 3585 w 7170"/>
              <a:gd name="T11" fmla="*/ 7170 h 7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170" h="7170">
                <a:moveTo>
                  <a:pt x="3585" y="7170"/>
                </a:moveTo>
                <a:lnTo>
                  <a:pt x="3585" y="7170"/>
                </a:lnTo>
                <a:cubicBezTo>
                  <a:pt x="5565" y="7170"/>
                  <a:pt x="7170" y="5565"/>
                  <a:pt x="7170" y="3585"/>
                </a:cubicBezTo>
                <a:cubicBezTo>
                  <a:pt x="7170" y="1604"/>
                  <a:pt x="5565" y="0"/>
                  <a:pt x="3585" y="0"/>
                </a:cubicBezTo>
                <a:cubicBezTo>
                  <a:pt x="1605" y="0"/>
                  <a:pt x="0" y="1604"/>
                  <a:pt x="0" y="3585"/>
                </a:cubicBezTo>
                <a:cubicBezTo>
                  <a:pt x="0" y="5565"/>
                  <a:pt x="1605" y="7170"/>
                  <a:pt x="3585" y="7170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DEB64AD-1E50-4B26-9EE9-AE8C9DC6EEB0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7177297" cy="6858000"/>
          </a:xfrm>
          <a:custGeom>
            <a:avLst/>
            <a:gdLst>
              <a:gd name="T0" fmla="*/ 0 w 15066"/>
              <a:gd name="T1" fmla="*/ 0 h 14399"/>
              <a:gd name="T2" fmla="*/ 0 w 15066"/>
              <a:gd name="T3" fmla="*/ 0 h 14399"/>
              <a:gd name="T4" fmla="*/ 0 w 15066"/>
              <a:gd name="T5" fmla="*/ 14399 h 14399"/>
              <a:gd name="T6" fmla="*/ 12667 w 15066"/>
              <a:gd name="T7" fmla="*/ 14399 h 14399"/>
              <a:gd name="T8" fmla="*/ 15066 w 15066"/>
              <a:gd name="T9" fmla="*/ 7199 h 14399"/>
              <a:gd name="T10" fmla="*/ 12667 w 15066"/>
              <a:gd name="T11" fmla="*/ 0 h 14399"/>
              <a:gd name="T12" fmla="*/ 0 w 15066"/>
              <a:gd name="T13" fmla="*/ 0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5066" h="14399">
                <a:moveTo>
                  <a:pt x="0" y="0"/>
                </a:moveTo>
                <a:lnTo>
                  <a:pt x="0" y="0"/>
                </a:lnTo>
                <a:lnTo>
                  <a:pt x="0" y="14399"/>
                </a:lnTo>
                <a:lnTo>
                  <a:pt x="12667" y="14399"/>
                </a:lnTo>
                <a:cubicBezTo>
                  <a:pt x="14173" y="12393"/>
                  <a:pt x="15066" y="9900"/>
                  <a:pt x="15066" y="7199"/>
                </a:cubicBezTo>
                <a:cubicBezTo>
                  <a:pt x="15066" y="4497"/>
                  <a:pt x="14173" y="2004"/>
                  <a:pt x="1266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9504A19-F80F-4F2E-A73D-8C2A5AB0925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07536" y="1636220"/>
            <a:ext cx="5760375" cy="470898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E679EA5D-8F77-4EF1-8516-CD7DB36CC078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07536" y="2262338"/>
            <a:ext cx="6120398" cy="40504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2800" b="1">
                <a:solidFill>
                  <a:schemeClr val="accent2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C918D9-300D-42CB-A0E3-5931A6417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35" y="3255427"/>
            <a:ext cx="6120000" cy="347146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Add date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765B404E-4E4D-4D8B-90B1-34910269F10A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id="{2CE6B25F-1769-4955-B15E-089D5F917EF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4457ACA2-54D1-4DD3-AD80-CB427C8559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6EA0EEDA-9AC8-487F-B0C5-1458B9AC87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524D528E-44C6-473A-997C-62B74824A3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7F0A46A4-158B-4205-9146-136F643D72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37A44ED6-C173-4B8A-8CD6-6A8F675E80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B3195C63-8017-43AB-B8F9-DEC7425CF3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8C944DF6-0D45-43E2-BE1C-41BE610FD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04D56E02-0107-4F81-9933-8542DA2733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773B20CD-7599-49F6-802B-FDD475877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BD19BBBB-D78E-444C-8EA7-57DF4DF0A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BE10C687-BF6F-46BA-B7C6-5F33EB36BA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329712A6-5156-4E44-B7E6-4782E93ABE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FD6D06B7-9CB9-4FDE-9E38-1590FB939E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28D758E3-85D0-4BB9-90AF-5B41AEDD51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E5A8D75B-58AB-4535-89EE-FAC5889CA2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30CA40B7-41D8-4604-9DDB-E233710282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8A4D4B73-6317-4E8B-B43A-5C243F22F5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C3B2F001-A285-4A61-863F-F4A97964632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72C85696-21F1-4864-89A5-226FBB687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2F7CCAB7-7076-49C8-8D7B-872B6D4F32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1D8A71F7-BCA6-489D-9747-1E3E6F4B19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65CB28CE-705C-4005-A11D-B84975C93B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3119D48E-72E3-485A-A0D9-C41714BB34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965127EB-3171-4BB4-B3AD-1653553D63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4966240E-65AC-4B0E-8B58-B415CD5CE8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C55C2028-DA22-40AD-8763-7188DD857B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18B5ABE5-0535-4C5D-BD0A-CCFB71741A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612F9522-0BF2-4E1F-B98A-AE893F216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07F4A430-A403-41C7-A349-01C807C869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914FA197-F64F-4925-8024-CA3625E9E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144436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Picture Placeholder 71">
            <a:extLst>
              <a:ext uri="{FF2B5EF4-FFF2-40B4-BE49-F238E27FC236}">
                <a16:creationId xmlns:a16="http://schemas.microsoft.com/office/drawing/2014/main" id="{1432CB16-BFA2-41C6-854A-D4AA392444DC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034437" y="0"/>
            <a:ext cx="6157563" cy="6858000"/>
          </a:xfrm>
          <a:custGeom>
            <a:avLst/>
            <a:gdLst>
              <a:gd name="connsiteX0" fmla="*/ 0 w 6157563"/>
              <a:gd name="connsiteY0" fmla="*/ 0 h 6858000"/>
              <a:gd name="connsiteX1" fmla="*/ 6157563 w 6157563"/>
              <a:gd name="connsiteY1" fmla="*/ 0 h 6858000"/>
              <a:gd name="connsiteX2" fmla="*/ 6157563 w 6157563"/>
              <a:gd name="connsiteY2" fmla="*/ 6858000 h 6858000"/>
              <a:gd name="connsiteX3" fmla="*/ 0 w 6157563"/>
              <a:gd name="connsiteY3" fmla="*/ 6858000 h 6858000"/>
              <a:gd name="connsiteX4" fmla="*/ 1142860 w 6157563"/>
              <a:gd name="connsiteY4" fmla="*/ 3428762 h 6858000"/>
              <a:gd name="connsiteX5" fmla="*/ 0 w 615756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7563" h="6858000">
                <a:moveTo>
                  <a:pt x="0" y="0"/>
                </a:moveTo>
                <a:lnTo>
                  <a:pt x="6157563" y="0"/>
                </a:lnTo>
                <a:lnTo>
                  <a:pt x="6157563" y="6858000"/>
                </a:lnTo>
                <a:lnTo>
                  <a:pt x="0" y="6858000"/>
                </a:lnTo>
                <a:cubicBezTo>
                  <a:pt x="717444" y="5902576"/>
                  <a:pt x="1142860" y="4715203"/>
                  <a:pt x="1142860" y="3428762"/>
                </a:cubicBezTo>
                <a:cubicBezTo>
                  <a:pt x="1142860" y="2141845"/>
                  <a:pt x="717444" y="954471"/>
                  <a:pt x="0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29504A19-F80F-4F2E-A73D-8C2A5AB092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07536" y="2309532"/>
            <a:ext cx="6120398" cy="581698"/>
          </a:xfrm>
        </p:spPr>
        <p:txBody>
          <a:bodyPr anchor="b" anchorCtr="0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2" name="Text Placeholder 39">
            <a:extLst>
              <a:ext uri="{FF2B5EF4-FFF2-40B4-BE49-F238E27FC236}">
                <a16:creationId xmlns:a16="http://schemas.microsoft.com/office/drawing/2014/main" id="{E679EA5D-8F77-4EF1-8516-CD7DB36CC07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7536" y="2872189"/>
            <a:ext cx="6120398" cy="607538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2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B2F5B2AB-4BA2-41E0-B318-DC5B92241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7535" y="3780000"/>
            <a:ext cx="6120000" cy="347146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Add date</a:t>
            </a:r>
          </a:p>
        </p:txBody>
      </p:sp>
    </p:spTree>
    <p:extLst>
      <p:ext uri="{BB962C8B-B14F-4D97-AF65-F5344CB8AC3E}">
        <p14:creationId xmlns:p14="http://schemas.microsoft.com/office/powerpoint/2010/main" val="229464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99979"/>
            <a:ext cx="11176927" cy="47504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A603611B-BA5D-43B7-AD40-C523899FA7E3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35ED7F73-CB93-4371-AF70-BC077658C6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D261683B-592A-45E6-B538-92066C4240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B52807C0-569F-4329-98A8-DA03F3B6BE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396254CF-4F85-4E2C-9A83-620B1FFE062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8F762720-0348-44A0-A4AE-4B71B51CAE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907EE57F-5F27-4500-A744-9F30239919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DBA95264-D30F-4AD9-9E77-E2323CE0E1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9EFF14B-0172-44A7-8602-3B6816B0D5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FD9F065D-6216-4A17-B2D3-AC29A6F3D2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36B31B2D-62A5-46D9-BAA6-31CFCE8377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7B0692E3-CC2F-46FF-A59E-2892554276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EADA962F-1F42-4AFF-B614-BC5FBD4E14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593A524F-F535-44A6-A9F5-564D77AD79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5E715330-A451-4AB6-80E1-B410A135C8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98D053F1-5BD3-4358-A749-4CD5B1B0B5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EE4A8260-AA14-4B2A-B40D-8DF73E5033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B878E1F2-E423-47DF-9313-0D6269077D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0A6C7A95-A480-460C-B883-1855CB7F1F0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CD502EEA-134F-47B4-A55E-C797049A0A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5FC7BF8E-72AB-419F-8349-BC4BDC4306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777BD08D-D08A-40FB-882C-4D4EAFAA46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EB0BC1A9-993F-49A2-B48B-78FAF3B96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F2F6FFCF-BC58-4B1B-A518-F80266E67F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8F0C2449-B387-4AE8-B230-98CF903A2D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4DA59081-7370-42BB-B432-230F8446E1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8FE80E74-C977-41AF-BBC2-50FF05C93B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6B00A78C-EBFE-4615-8AD2-D38FA8F922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7BFEA3DD-F3F9-4B15-9E08-1F690FB3FC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55035685-DED5-4153-B3D7-E4FEFB869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6D88905B-B9F3-4B61-A96E-A10696431D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1F56B8CD-6386-4E68-AA78-A5DD47009E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402661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713421"/>
            <a:ext cx="11176927" cy="46369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42653811-34A2-4FAE-ADB4-A57F2689CE98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1" name="Group 4">
            <a:extLst>
              <a:ext uri="{FF2B5EF4-FFF2-40B4-BE49-F238E27FC236}">
                <a16:creationId xmlns:a16="http://schemas.microsoft.com/office/drawing/2014/main" id="{9E6945B5-BD7A-4105-B138-1DA5D1F979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E2DFD2D8-EE04-4B12-B9F1-3FE5D9F24F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A445AB73-491A-463E-9C9F-498F43027B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EC623FB5-F607-4322-9DE7-19B82AC11B6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625799FB-D8AF-4C0E-BD1A-0B954CD8AE8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ADD37D38-D316-4B99-8CC4-72FF22494B5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2839B97F-B811-469F-B75C-60EE8B4B4D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4DCA4559-39E2-4896-8C9C-0E28FEF56C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D5A6B766-538B-4E6C-8E8D-29C31BF623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7E87E73B-CBDC-400C-8A8B-84529B7B4C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2B4A50E1-EF49-40A6-980F-86E9A54B9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DF2DD068-16D2-4B09-ADBD-1272E2F931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1E209815-999D-4F70-B39B-B8065C93F35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C5C7C0E8-22D7-44D5-8F20-259A6DE75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6C7B0714-1760-4193-988F-48969F1DFC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5605EBD4-F4D5-415F-B336-1A4D805484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A8A143DA-A17E-460B-B0FA-277F0A73E7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A325E9FD-EB0F-4791-924B-BBD2605F9E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4A007AA3-B158-4957-8F04-A2F138EFA0C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5809E2CB-1AB5-4650-B2B8-85F941E8E0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DCB93FE2-24D3-4F63-867F-25D07AFFDB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3131AA4E-0BF9-41F1-86C7-55C30E51BA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29551467-DBEE-4EAD-B194-33BA4A9035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871398A4-3B9B-46EE-8BD0-8DF00A7F8F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500EDA21-6088-4E54-8415-3CCA0B6166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9D6282D2-765C-4B86-AB3E-9E6065E9C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BF8378FC-5C5B-4E99-9CEF-D86C307F7F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22EDBF7E-A4FD-416B-954D-1029E8432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977402C9-AFE0-4C55-96EE-77E4260F96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C5736AD1-7F32-4915-977A-436749D4E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E5CE9315-3267-498B-A1B4-26E0DA688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2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3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307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837D60E4-0D99-47DE-873F-DDC11889235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25799" y="-2242800"/>
            <a:ext cx="7873712" cy="78732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7536" y="507600"/>
            <a:ext cx="5310346" cy="659048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933903"/>
            <a:ext cx="5310346" cy="441649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1287035"/>
            <a:ext cx="5310346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92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0B4AFDE7-0BB0-4B39-B965-5BFC1DF02EAC}"/>
              </a:ext>
            </a:extLst>
          </p:cNvPr>
          <p:cNvSpPr>
            <a:spLocks noChangeAspect="1"/>
          </p:cNvSpPr>
          <p:nvPr userDrawn="1"/>
        </p:nvSpPr>
        <p:spPr>
          <a:xfrm>
            <a:off x="5654445" y="-1260000"/>
            <a:ext cx="4280679" cy="4280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837D60E4-0D99-47DE-873F-DDC11889235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637032" y="1447200"/>
            <a:ext cx="7632497" cy="7632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2007476"/>
            <a:ext cx="5310346" cy="434292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E0CAF259-2A5B-4EC4-AE96-D1EA9AC148BB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53CD9AE7-6DC0-444E-9CFA-5565B1C7B56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68486E75-6A8D-426D-8A6B-E7BA2EE2B9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AD9AAD07-5AC9-44E2-BA6D-07053D455E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C98DAF8A-A688-46B2-AFAC-09E7D23004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D968AA3D-F945-4831-B7C1-6DA4A6EC2A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D78E6266-C5C8-4A9D-BEAE-2F205910299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A8158F7B-7B35-416A-BF68-263C4465A6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783755F2-C383-45DB-B2D7-D147631096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93B0527-44C1-4B50-B8A1-3AB33AACDD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E449CA9-CF86-4B9E-B898-1030403F32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BE6AD1AF-F50C-4D3B-83AC-EB889FC949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946021F5-8ABD-462F-AE35-720F696C75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C0D52719-FC1F-4232-8BB1-9CCADE89F2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CC64B81B-C53D-4967-9FF3-F45E417678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A03D4642-4A1C-4C8A-9BE6-3A4BBED70B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67C2657E-4EE8-4F97-9CAD-255EB7EE82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8BFDCD02-CAE7-4C43-A5A6-72D2F52526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076BB111-7C8E-4533-9F17-5BF687E20C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78551EEF-0B06-49DA-B564-5E89C4F4C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0F54507D-0250-48BF-BD38-5A3325583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970C7A7B-6757-4262-955F-436A3724DB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E0A25299-CF19-43EC-9998-16DA710288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84E2D2C1-C7E4-4A6B-99A7-A1BFEDD419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87CAFAC9-9806-4330-B219-8C80F620B5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1647C5ED-195D-4E22-B8D1-AB23B1FC3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7A0A593B-5845-473D-A635-4C5AD22543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39ED4B61-8DD4-46D2-8E69-26D4DCE073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77A4D665-26FC-40F0-9E99-D8A7433BCA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CB3F514F-F4FC-4BB0-8017-35D53B24E9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DEF6CF2F-683D-49E7-B570-43D01AE8B7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6124C8C8-7DA0-421C-BCFA-989D12A0D0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6" name="Title 1"/>
          <p:cNvSpPr>
            <a:spLocks noGrp="1"/>
          </p:cNvSpPr>
          <p:nvPr>
            <p:ph type="title" hasCustomPrompt="1"/>
          </p:nvPr>
        </p:nvSpPr>
        <p:spPr>
          <a:xfrm>
            <a:off x="507536" y="507600"/>
            <a:ext cx="5310346" cy="78517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7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1394482"/>
            <a:ext cx="5310346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92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18165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BE1830F6-A944-44CD-8002-3B1E362BCE1B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">
            <a:extLst>
              <a:ext uri="{FF2B5EF4-FFF2-40B4-BE49-F238E27FC236}">
                <a16:creationId xmlns:a16="http://schemas.microsoft.com/office/drawing/2014/main" id="{80EB315D-6D56-4249-8B47-323A264FF37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0867D5BE-650B-4955-90EF-5D1833D934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1A68D467-CE13-4A2F-98F1-12DB14ABB5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1D36A810-3C30-4876-96DB-6C4455FA2D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43EE5094-BD56-4499-BB47-4A995F7BD5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0AA4F4AD-FF6C-428F-B984-FF468911405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A95150E4-93A6-4340-A3A4-A26D6741CE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C3BB8C21-86F5-4ED8-A7FD-EE51E9888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3846D477-BBA0-413A-A1A7-3FA7D8C85B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29DFFA3B-F344-4301-8606-DEA934C3CE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ED0B9708-B602-4B43-B944-22878CF9EE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9B80C80F-FB6A-47BC-8B7E-E97D23B6BA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59FD4413-58DE-44A7-93D5-059045D26F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637B5E6F-1772-47BD-9DB5-9C0A70C29E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C4DBC770-120A-4518-B98B-2DD1F496AB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AAD72FAC-9440-4D13-9DF6-D6F90D078B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07A5B24B-B82C-4D94-B9C6-B0270506E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B5A1DB81-5BE4-475F-8FB0-BD35CDE0AEA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66514A7E-0A94-4656-A607-29D5EA02B3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2050D3B7-BAD7-4E8C-91FC-67172FAA9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D835E85F-E94A-44E5-98E5-8E48DF0FBD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D9703265-689E-4EDB-9081-B1CB49966D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D731A6DF-9695-4D2C-8500-828CF32C3D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C2D380D7-C177-46C0-81BE-62448ACBAF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85482DBC-923A-440B-8667-8B6AC3470C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8AE0AC6E-8802-414D-8F4B-D7154C1E3C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378A1619-12CA-4E3A-BA38-E3C713B5E8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648290F9-CD88-4B0C-A0AF-425CFB5366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99672175-C511-4EC5-B57B-AFB3139FC6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77DE6217-E8EE-4194-8ABA-558524CED8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EAF4C62D-5212-48C0-AAFC-16261E8303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5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943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618165" y="1972800"/>
            <a:ext cx="4635302" cy="437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F3D1BDBD-F00C-47E3-B014-B0723DB0594D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3" name="Group 4">
            <a:extLst>
              <a:ext uri="{FF2B5EF4-FFF2-40B4-BE49-F238E27FC236}">
                <a16:creationId xmlns:a16="http://schemas.microsoft.com/office/drawing/2014/main" id="{7F655B2C-68A7-418D-A66C-CD685FB21BB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id="{0B65D536-702B-4EEB-8D99-0E6C6A0A6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3B756A9E-2DEE-4455-B512-85F8C97B89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7">
              <a:extLst>
                <a:ext uri="{FF2B5EF4-FFF2-40B4-BE49-F238E27FC236}">
                  <a16:creationId xmlns:a16="http://schemas.microsoft.com/office/drawing/2014/main" id="{9B4459D0-81CD-4E7B-90F1-E524870254C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C8D9CB18-E9FC-4D12-8A4C-8A178A295B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19594DF1-E0FC-44EB-B55C-D64D8A2CF7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20D9D540-44DE-4E63-B398-5DA9D2778D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2D1369D7-239B-4842-A93D-E6B59ABC21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2">
              <a:extLst>
                <a:ext uri="{FF2B5EF4-FFF2-40B4-BE49-F238E27FC236}">
                  <a16:creationId xmlns:a16="http://schemas.microsoft.com/office/drawing/2014/main" id="{95829147-590F-4F46-AD38-09B2F66F25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3">
              <a:extLst>
                <a:ext uri="{FF2B5EF4-FFF2-40B4-BE49-F238E27FC236}">
                  <a16:creationId xmlns:a16="http://schemas.microsoft.com/office/drawing/2014/main" id="{DC8A9528-5B31-43C9-9442-7316058CF3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4">
              <a:extLst>
                <a:ext uri="{FF2B5EF4-FFF2-40B4-BE49-F238E27FC236}">
                  <a16:creationId xmlns:a16="http://schemas.microsoft.com/office/drawing/2014/main" id="{76168ABF-BC3A-41F5-BBD0-1259FC41AA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5">
              <a:extLst>
                <a:ext uri="{FF2B5EF4-FFF2-40B4-BE49-F238E27FC236}">
                  <a16:creationId xmlns:a16="http://schemas.microsoft.com/office/drawing/2014/main" id="{084F3FE4-E7CE-47E6-88D6-65C243A382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6">
              <a:extLst>
                <a:ext uri="{FF2B5EF4-FFF2-40B4-BE49-F238E27FC236}">
                  <a16:creationId xmlns:a16="http://schemas.microsoft.com/office/drawing/2014/main" id="{9D87E9F6-04A3-482F-A4D6-F5A4E77ED3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7">
              <a:extLst>
                <a:ext uri="{FF2B5EF4-FFF2-40B4-BE49-F238E27FC236}">
                  <a16:creationId xmlns:a16="http://schemas.microsoft.com/office/drawing/2014/main" id="{F046A235-019B-4B15-9378-9C93F49148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8">
              <a:extLst>
                <a:ext uri="{FF2B5EF4-FFF2-40B4-BE49-F238E27FC236}">
                  <a16:creationId xmlns:a16="http://schemas.microsoft.com/office/drawing/2014/main" id="{F1F6A7E2-59FF-43B0-9D67-4F503F16B8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9">
              <a:extLst>
                <a:ext uri="{FF2B5EF4-FFF2-40B4-BE49-F238E27FC236}">
                  <a16:creationId xmlns:a16="http://schemas.microsoft.com/office/drawing/2014/main" id="{1BE9FF40-B666-4530-97EE-E26188A34E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BC48B2AA-E2F9-49F9-9A00-55BCEB89535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FEF6EE43-D838-46DE-BE53-69226173A7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2">
              <a:extLst>
                <a:ext uri="{FF2B5EF4-FFF2-40B4-BE49-F238E27FC236}">
                  <a16:creationId xmlns:a16="http://schemas.microsoft.com/office/drawing/2014/main" id="{B3BF68C0-AB73-48CE-AEF7-04F41CBF61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3">
              <a:extLst>
                <a:ext uri="{FF2B5EF4-FFF2-40B4-BE49-F238E27FC236}">
                  <a16:creationId xmlns:a16="http://schemas.microsoft.com/office/drawing/2014/main" id="{B975B46E-4BBB-4C63-B104-575A85A0A7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36320ABC-72CE-463C-8120-FDE37A988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5">
              <a:extLst>
                <a:ext uri="{FF2B5EF4-FFF2-40B4-BE49-F238E27FC236}">
                  <a16:creationId xmlns:a16="http://schemas.microsoft.com/office/drawing/2014/main" id="{8B9A47EF-E414-4AB9-A2AD-E1B6778D0A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6">
              <a:extLst>
                <a:ext uri="{FF2B5EF4-FFF2-40B4-BE49-F238E27FC236}">
                  <a16:creationId xmlns:a16="http://schemas.microsoft.com/office/drawing/2014/main" id="{721EAF00-A073-4D56-BFA5-459E92BA69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7">
              <a:extLst>
                <a:ext uri="{FF2B5EF4-FFF2-40B4-BE49-F238E27FC236}">
                  <a16:creationId xmlns:a16="http://schemas.microsoft.com/office/drawing/2014/main" id="{F1EFFB30-A01B-4F37-8651-CF99F95AE5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8">
              <a:extLst>
                <a:ext uri="{FF2B5EF4-FFF2-40B4-BE49-F238E27FC236}">
                  <a16:creationId xmlns:a16="http://schemas.microsoft.com/office/drawing/2014/main" id="{FAD9AE24-C4B9-4116-9A64-546F63C2AC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9">
              <a:extLst>
                <a:ext uri="{FF2B5EF4-FFF2-40B4-BE49-F238E27FC236}">
                  <a16:creationId xmlns:a16="http://schemas.microsoft.com/office/drawing/2014/main" id="{988428B1-2DB9-4515-A724-7F9388F1E8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0">
              <a:extLst>
                <a:ext uri="{FF2B5EF4-FFF2-40B4-BE49-F238E27FC236}">
                  <a16:creationId xmlns:a16="http://schemas.microsoft.com/office/drawing/2014/main" id="{D13446B7-11BF-4D12-9929-007774166C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1">
              <a:extLst>
                <a:ext uri="{FF2B5EF4-FFF2-40B4-BE49-F238E27FC236}">
                  <a16:creationId xmlns:a16="http://schemas.microsoft.com/office/drawing/2014/main" id="{14F76865-153C-4186-9826-622621BC56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2">
              <a:extLst>
                <a:ext uri="{FF2B5EF4-FFF2-40B4-BE49-F238E27FC236}">
                  <a16:creationId xmlns:a16="http://schemas.microsoft.com/office/drawing/2014/main" id="{11BBE630-A6DF-4E75-B32F-FA946058CE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3">
              <a:extLst>
                <a:ext uri="{FF2B5EF4-FFF2-40B4-BE49-F238E27FC236}">
                  <a16:creationId xmlns:a16="http://schemas.microsoft.com/office/drawing/2014/main" id="{6CFED609-391F-4621-B82C-EF841C589B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4">
              <a:extLst>
                <a:ext uri="{FF2B5EF4-FFF2-40B4-BE49-F238E27FC236}">
                  <a16:creationId xmlns:a16="http://schemas.microsoft.com/office/drawing/2014/main" id="{BB1C99A7-DEE5-48AF-AA74-66CC3B5292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5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35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фровой проду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олилиния: Фигура 23">
            <a:extLst>
              <a:ext uri="{FF2B5EF4-FFF2-40B4-BE49-F238E27FC236}">
                <a16:creationId xmlns:a16="http://schemas.microsoft.com/office/drawing/2014/main" id="{5F6D6B0F-FF8B-4D60-B712-A57904D5502C}"/>
              </a:ext>
            </a:extLst>
          </p:cNvPr>
          <p:cNvSpPr/>
          <p:nvPr userDrawn="1"/>
        </p:nvSpPr>
        <p:spPr>
          <a:xfrm rot="19260823">
            <a:off x="10216425" y="538864"/>
            <a:ext cx="467362" cy="344458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5" name="Полилиния: Фигура 24">
            <a:extLst>
              <a:ext uri="{FF2B5EF4-FFF2-40B4-BE49-F238E27FC236}">
                <a16:creationId xmlns:a16="http://schemas.microsoft.com/office/drawing/2014/main" id="{FFF5FB50-33B5-4195-92D6-70891F240926}"/>
              </a:ext>
            </a:extLst>
          </p:cNvPr>
          <p:cNvSpPr/>
          <p:nvPr userDrawn="1"/>
        </p:nvSpPr>
        <p:spPr>
          <a:xfrm rot="20377627">
            <a:off x="10678141" y="849218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6" name="Полилиния: Фигура 25">
            <a:extLst>
              <a:ext uri="{FF2B5EF4-FFF2-40B4-BE49-F238E27FC236}">
                <a16:creationId xmlns:a16="http://schemas.microsoft.com/office/drawing/2014/main" id="{EECD958F-56E9-4A3B-9C25-D5970592C848}"/>
              </a:ext>
            </a:extLst>
          </p:cNvPr>
          <p:cNvSpPr/>
          <p:nvPr userDrawn="1"/>
        </p:nvSpPr>
        <p:spPr>
          <a:xfrm rot="19260823">
            <a:off x="10717367" y="620572"/>
            <a:ext cx="250689" cy="18476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7" name="Полилиния: Фигура 26">
            <a:extLst>
              <a:ext uri="{FF2B5EF4-FFF2-40B4-BE49-F238E27FC236}">
                <a16:creationId xmlns:a16="http://schemas.microsoft.com/office/drawing/2014/main" id="{72F4FF18-9272-43AF-912E-B1CF8BF148D4}"/>
              </a:ext>
            </a:extLst>
          </p:cNvPr>
          <p:cNvSpPr/>
          <p:nvPr userDrawn="1"/>
        </p:nvSpPr>
        <p:spPr>
          <a:xfrm rot="19810388">
            <a:off x="11064926" y="78160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8" name="Полилиния: Фигура 27">
            <a:extLst>
              <a:ext uri="{FF2B5EF4-FFF2-40B4-BE49-F238E27FC236}">
                <a16:creationId xmlns:a16="http://schemas.microsoft.com/office/drawing/2014/main" id="{AE9C7EB4-9E81-4394-8C2C-A54BBD15B51D}"/>
              </a:ext>
            </a:extLst>
          </p:cNvPr>
          <p:cNvSpPr/>
          <p:nvPr userDrawn="1"/>
        </p:nvSpPr>
        <p:spPr>
          <a:xfrm rot="18277851">
            <a:off x="11152527" y="3820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9" name="Полилиния: Фигура 28">
            <a:extLst>
              <a:ext uri="{FF2B5EF4-FFF2-40B4-BE49-F238E27FC236}">
                <a16:creationId xmlns:a16="http://schemas.microsoft.com/office/drawing/2014/main" id="{FE681EC0-A139-4B14-89E8-F237CB63D4C9}"/>
              </a:ext>
            </a:extLst>
          </p:cNvPr>
          <p:cNvSpPr/>
          <p:nvPr userDrawn="1"/>
        </p:nvSpPr>
        <p:spPr>
          <a:xfrm rot="20761418">
            <a:off x="11545452" y="1030689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0" name="Полилиния: Фигура 29">
            <a:extLst>
              <a:ext uri="{FF2B5EF4-FFF2-40B4-BE49-F238E27FC236}">
                <a16:creationId xmlns:a16="http://schemas.microsoft.com/office/drawing/2014/main" id="{87F87648-ABB4-4C97-BB6D-58342407E9DF}"/>
              </a:ext>
            </a:extLst>
          </p:cNvPr>
          <p:cNvSpPr/>
          <p:nvPr userDrawn="1"/>
        </p:nvSpPr>
        <p:spPr>
          <a:xfrm rot="17315293">
            <a:off x="11756248" y="247552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1" name="Полилиния: Фигура 30">
            <a:extLst>
              <a:ext uri="{FF2B5EF4-FFF2-40B4-BE49-F238E27FC236}">
                <a16:creationId xmlns:a16="http://schemas.microsoft.com/office/drawing/2014/main" id="{0802EFEB-F4DF-4501-91AA-173B60EBBBAA}"/>
              </a:ext>
            </a:extLst>
          </p:cNvPr>
          <p:cNvSpPr/>
          <p:nvPr userDrawn="1"/>
        </p:nvSpPr>
        <p:spPr>
          <a:xfrm rot="20082236">
            <a:off x="11448108" y="631127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2" name="Полилиния: Фигура 31">
            <a:extLst>
              <a:ext uri="{FF2B5EF4-FFF2-40B4-BE49-F238E27FC236}">
                <a16:creationId xmlns:a16="http://schemas.microsoft.com/office/drawing/2014/main" id="{109FE51D-8E02-4ED7-862B-5CF838F7F77F}"/>
              </a:ext>
            </a:extLst>
          </p:cNvPr>
          <p:cNvSpPr/>
          <p:nvPr userDrawn="1"/>
        </p:nvSpPr>
        <p:spPr>
          <a:xfrm rot="19879732">
            <a:off x="11668879" y="824433"/>
            <a:ext cx="216995" cy="159931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3" name="Полилиния: Фигура 32">
            <a:extLst>
              <a:ext uri="{FF2B5EF4-FFF2-40B4-BE49-F238E27FC236}">
                <a16:creationId xmlns:a16="http://schemas.microsoft.com/office/drawing/2014/main" id="{4ECB9E40-5923-4571-9C8E-D7412C1283B2}"/>
              </a:ext>
            </a:extLst>
          </p:cNvPr>
          <p:cNvSpPr/>
          <p:nvPr userDrawn="1"/>
        </p:nvSpPr>
        <p:spPr>
          <a:xfrm rot="328041">
            <a:off x="10094502" y="901548"/>
            <a:ext cx="579699" cy="606799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  <a:gd name="connsiteX0" fmla="*/ 487806 w 487806"/>
              <a:gd name="connsiteY0" fmla="*/ 171848 h 510610"/>
              <a:gd name="connsiteX1" fmla="*/ 308036 w 487806"/>
              <a:gd name="connsiteY1" fmla="*/ 510610 h 510610"/>
              <a:gd name="connsiteX2" fmla="*/ 0 w 487806"/>
              <a:gd name="connsiteY2" fmla="*/ 0 h 510610"/>
              <a:gd name="connsiteX3" fmla="*/ 487806 w 487806"/>
              <a:gd name="connsiteY3" fmla="*/ 171848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7806" h="510610">
                <a:moveTo>
                  <a:pt x="487806" y="171848"/>
                </a:moveTo>
                <a:lnTo>
                  <a:pt x="308036" y="510610"/>
                </a:lnTo>
                <a:lnTo>
                  <a:pt x="0" y="0"/>
                </a:lnTo>
                <a:lnTo>
                  <a:pt x="487806" y="17184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4" name="Полилиния: Фигура 33">
            <a:extLst>
              <a:ext uri="{FF2B5EF4-FFF2-40B4-BE49-F238E27FC236}">
                <a16:creationId xmlns:a16="http://schemas.microsoft.com/office/drawing/2014/main" id="{E46052C9-826B-47AC-9F6B-3078D4F43748}"/>
              </a:ext>
            </a:extLst>
          </p:cNvPr>
          <p:cNvSpPr/>
          <p:nvPr userDrawn="1"/>
        </p:nvSpPr>
        <p:spPr>
          <a:xfrm>
            <a:off x="10871770" y="1202556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5" name="Полилиния: Фигура 34">
            <a:extLst>
              <a:ext uri="{FF2B5EF4-FFF2-40B4-BE49-F238E27FC236}">
                <a16:creationId xmlns:a16="http://schemas.microsoft.com/office/drawing/2014/main" id="{0C3867F5-4C6F-48BE-9DFF-9046D1FE6771}"/>
              </a:ext>
            </a:extLst>
          </p:cNvPr>
          <p:cNvSpPr/>
          <p:nvPr userDrawn="1"/>
        </p:nvSpPr>
        <p:spPr>
          <a:xfrm rot="20761418">
            <a:off x="11512604" y="1484835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6" name="Полилиния: Фигура 35">
            <a:extLst>
              <a:ext uri="{FF2B5EF4-FFF2-40B4-BE49-F238E27FC236}">
                <a16:creationId xmlns:a16="http://schemas.microsoft.com/office/drawing/2014/main" id="{7B0CB40F-9E6F-457D-9C1F-9769BC3AE13E}"/>
              </a:ext>
            </a:extLst>
          </p:cNvPr>
          <p:cNvSpPr/>
          <p:nvPr userDrawn="1"/>
        </p:nvSpPr>
        <p:spPr>
          <a:xfrm rot="1160487">
            <a:off x="10291662" y="1614015"/>
            <a:ext cx="316887" cy="233554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0 w 692798"/>
              <a:gd name="connsiteY2" fmla="*/ 0 h 510610"/>
              <a:gd name="connsiteX3" fmla="*/ 692798 w 692798"/>
              <a:gd name="connsiteY3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37" name="Полилиния: Фигура 36">
            <a:extLst>
              <a:ext uri="{FF2B5EF4-FFF2-40B4-BE49-F238E27FC236}">
                <a16:creationId xmlns:a16="http://schemas.microsoft.com/office/drawing/2014/main" id="{0FCD03E7-2128-4C04-A914-409506646A76}"/>
              </a:ext>
            </a:extLst>
          </p:cNvPr>
          <p:cNvSpPr/>
          <p:nvPr userDrawn="1"/>
        </p:nvSpPr>
        <p:spPr>
          <a:xfrm rot="803026">
            <a:off x="11586107" y="2015428"/>
            <a:ext cx="162256" cy="119587"/>
          </a:xfrm>
          <a:custGeom>
            <a:avLst/>
            <a:gdLst>
              <a:gd name="connsiteX0" fmla="*/ 692798 w 692798"/>
              <a:gd name="connsiteY0" fmla="*/ 224339 h 510610"/>
              <a:gd name="connsiteX1" fmla="*/ 308036 w 692798"/>
              <a:gd name="connsiteY1" fmla="*/ 510610 h 510610"/>
              <a:gd name="connsiteX2" fmla="*/ 64876 w 692798"/>
              <a:gd name="connsiteY2" fmla="*/ 168539 h 510610"/>
              <a:gd name="connsiteX3" fmla="*/ 0 w 692798"/>
              <a:gd name="connsiteY3" fmla="*/ 0 h 510610"/>
              <a:gd name="connsiteX4" fmla="*/ 692798 w 692798"/>
              <a:gd name="connsiteY4" fmla="*/ 224339 h 510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798" h="510610">
                <a:moveTo>
                  <a:pt x="692798" y="224339"/>
                </a:moveTo>
                <a:lnTo>
                  <a:pt x="308036" y="510610"/>
                </a:lnTo>
                <a:lnTo>
                  <a:pt x="64876" y="168539"/>
                </a:lnTo>
                <a:lnTo>
                  <a:pt x="0" y="0"/>
                </a:lnTo>
                <a:lnTo>
                  <a:pt x="692798" y="224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0725BC56-C7B6-400F-80F9-3F968E2CAE0E}"/>
              </a:ext>
            </a:extLst>
          </p:cNvPr>
          <p:cNvGrpSpPr/>
          <p:nvPr userDrawn="1"/>
        </p:nvGrpSpPr>
        <p:grpSpPr>
          <a:xfrm>
            <a:off x="3383603" y="1013721"/>
            <a:ext cx="7749965" cy="5100743"/>
            <a:chOff x="510812" y="938373"/>
            <a:chExt cx="8073393" cy="5313612"/>
          </a:xfrm>
        </p:grpSpPr>
        <p:sp>
          <p:nvSpPr>
            <p:cNvPr id="44" name="Скругленный прямоугольник 15">
              <a:extLst>
                <a:ext uri="{FF2B5EF4-FFF2-40B4-BE49-F238E27FC236}">
                  <a16:creationId xmlns:a16="http://schemas.microsoft.com/office/drawing/2014/main" id="{1EC806EC-A1B2-4893-9504-1D7FFE8E238F}"/>
                </a:ext>
              </a:extLst>
            </p:cNvPr>
            <p:cNvSpPr/>
            <p:nvPr/>
          </p:nvSpPr>
          <p:spPr>
            <a:xfrm>
              <a:off x="877709" y="938373"/>
              <a:ext cx="7339600" cy="5234482"/>
            </a:xfrm>
            <a:prstGeom prst="round2SameRect">
              <a:avLst>
                <a:gd name="adj1" fmla="val 560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noProof="0" dirty="0"/>
            </a:p>
          </p:txBody>
        </p:sp>
        <p:sp>
          <p:nvSpPr>
            <p:cNvPr id="45" name="Скругленный прямоугольник 15">
              <a:extLst>
                <a:ext uri="{FF2B5EF4-FFF2-40B4-BE49-F238E27FC236}">
                  <a16:creationId xmlns:a16="http://schemas.microsoft.com/office/drawing/2014/main" id="{535A1B12-6F16-41A0-A6B1-4AD0CCB5A081}"/>
                </a:ext>
              </a:extLst>
            </p:cNvPr>
            <p:cNvSpPr/>
            <p:nvPr/>
          </p:nvSpPr>
          <p:spPr>
            <a:xfrm>
              <a:off x="930758" y="995668"/>
              <a:ext cx="7233502" cy="5177187"/>
            </a:xfrm>
            <a:prstGeom prst="round2SameRect">
              <a:avLst>
                <a:gd name="adj1" fmla="val 4499"/>
                <a:gd name="adj2" fmla="val 0"/>
              </a:avLst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noProof="0" dirty="0"/>
            </a:p>
          </p:txBody>
        </p:sp>
        <p:sp>
          <p:nvSpPr>
            <p:cNvPr id="46" name="Прямоугольник: Скругленные углы 45">
              <a:extLst>
                <a:ext uri="{FF2B5EF4-FFF2-40B4-BE49-F238E27FC236}">
                  <a16:creationId xmlns:a16="http://schemas.microsoft.com/office/drawing/2014/main" id="{379B244F-CF81-4500-A78E-495ABA6828BA}"/>
                </a:ext>
              </a:extLst>
            </p:cNvPr>
            <p:cNvSpPr/>
            <p:nvPr/>
          </p:nvSpPr>
          <p:spPr>
            <a:xfrm rot="16200000">
              <a:off x="2264894" y="295974"/>
              <a:ext cx="4565229" cy="6599909"/>
            </a:xfrm>
            <a:prstGeom prst="roundRect">
              <a:avLst>
                <a:gd name="adj" fmla="val 1476"/>
              </a:avLst>
            </a:prstGeom>
            <a:solidFill>
              <a:schemeClr val="bg1"/>
            </a:solidFill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noProof="0" dirty="0"/>
            </a:p>
          </p:txBody>
        </p:sp>
        <p:sp>
          <p:nvSpPr>
            <p:cNvPr id="47" name="Скругленный прямоугольник 15">
              <a:extLst>
                <a:ext uri="{FF2B5EF4-FFF2-40B4-BE49-F238E27FC236}">
                  <a16:creationId xmlns:a16="http://schemas.microsoft.com/office/drawing/2014/main" id="{EE88F157-E260-486F-937E-C18428699861}"/>
                </a:ext>
              </a:extLst>
            </p:cNvPr>
            <p:cNvSpPr/>
            <p:nvPr/>
          </p:nvSpPr>
          <p:spPr>
            <a:xfrm rot="10800000">
              <a:off x="510812" y="5998253"/>
              <a:ext cx="8073393" cy="24897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/>
            </a:solidFill>
            <a:ln w="3175">
              <a:solidFill>
                <a:schemeClr val="accent1"/>
              </a:solidFill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noProof="0" dirty="0"/>
            </a:p>
          </p:txBody>
        </p:sp>
        <p:sp>
          <p:nvSpPr>
            <p:cNvPr id="48" name="Скругленный прямоугольник 15">
              <a:extLst>
                <a:ext uri="{FF2B5EF4-FFF2-40B4-BE49-F238E27FC236}">
                  <a16:creationId xmlns:a16="http://schemas.microsoft.com/office/drawing/2014/main" id="{F736AFAF-44AD-47CE-A63B-210102A4BF0B}"/>
                </a:ext>
              </a:extLst>
            </p:cNvPr>
            <p:cNvSpPr/>
            <p:nvPr userDrawn="1"/>
          </p:nvSpPr>
          <p:spPr>
            <a:xfrm>
              <a:off x="3668019" y="6206338"/>
              <a:ext cx="1758981" cy="45647"/>
            </a:xfrm>
            <a:prstGeom prst="round2SameRect">
              <a:avLst>
                <a:gd name="adj1" fmla="val 50000"/>
                <a:gd name="adj2" fmla="val 0"/>
              </a:avLst>
            </a:prstGeom>
            <a:gradFill>
              <a:gsLst>
                <a:gs pos="0">
                  <a:schemeClr val="tx1">
                    <a:alpha val="0"/>
                  </a:schemeClr>
                </a:gs>
                <a:gs pos="100000">
                  <a:schemeClr val="tx1">
                    <a:alpha val="31000"/>
                  </a:schemeClr>
                </a:gs>
              </a:gsLst>
              <a:lin ang="16200000" scaled="0"/>
            </a:gra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noProof="0" dirty="0"/>
            </a:p>
          </p:txBody>
        </p:sp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A4F6457E-3660-4E80-82BC-8894D701DEE9}"/>
                </a:ext>
              </a:extLst>
            </p:cNvPr>
            <p:cNvSpPr/>
            <p:nvPr/>
          </p:nvSpPr>
          <p:spPr>
            <a:xfrm rot="16200000">
              <a:off x="4660498" y="1119143"/>
              <a:ext cx="48680" cy="4868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0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noProof="0" dirty="0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88230416-7E55-4CB0-9548-491BA471E9E8}"/>
                </a:ext>
              </a:extLst>
            </p:cNvPr>
            <p:cNvSpPr/>
            <p:nvPr/>
          </p:nvSpPr>
          <p:spPr>
            <a:xfrm rot="16200000">
              <a:off x="4505961" y="1106017"/>
              <a:ext cx="83096" cy="8309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noProof="0" dirty="0"/>
            </a:p>
          </p:txBody>
        </p:sp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FE3C1810-AD4F-4393-928E-CFA8053A2CC2}"/>
                </a:ext>
              </a:extLst>
            </p:cNvPr>
            <p:cNvSpPr/>
            <p:nvPr/>
          </p:nvSpPr>
          <p:spPr>
            <a:xfrm rot="16200000">
              <a:off x="4524686" y="1124741"/>
              <a:ext cx="45647" cy="45647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  <a:scene3d>
              <a:camera prst="isometricLeftDown">
                <a:rot lat="0" lon="0" rev="0"/>
              </a:camera>
              <a:lightRig rig="threePt" dir="t"/>
            </a:scene3d>
            <a:sp3d extrusionH="63500">
              <a:bevelT w="0" h="0"/>
              <a:bevelB w="0" h="4445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noProof="0" dirty="0"/>
            </a:p>
          </p:txBody>
        </p:sp>
      </p:grp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948E38-8FB0-4E51-A01C-C88794372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152000"/>
            <a:ext cx="2951603" cy="2196235"/>
          </a:xfrm>
        </p:spPr>
        <p:txBody>
          <a:bodyPr rtlCol="0" anchor="b"/>
          <a:lstStyle>
            <a:lvl1pPr marL="0" indent="0">
              <a:buNone/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6670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429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8096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076325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 dirty="0"/>
              <a:t>Сюда можно добавить выделенный текст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FF4C50-933F-41F9-AD11-BD02410AA7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19F419B1-164A-4B7A-BBEC-47B6151ECB0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86E99B1E-D08C-46BA-9D27-9ED02F4C9B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8C1EA41E-F6C4-484F-95E9-42978FF2162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92796" y="1376357"/>
            <a:ext cx="6333545" cy="4379625"/>
          </a:xfrm>
          <a:prstGeom prst="roundRect">
            <a:avLst>
              <a:gd name="adj" fmla="val 135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noProof="0" dirty="0"/>
              <a:t>Вставьте или перетащите изображение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35FD3B7C-17C6-4327-986C-A8A6D6EC1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3509766"/>
            <a:ext cx="2951163" cy="2322709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3362864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792800"/>
            <a:ext cx="3555231" cy="45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384" y="1792800"/>
            <a:ext cx="3555231" cy="4557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Content Placeholder 38">
            <a:extLst>
              <a:ext uri="{FF2B5EF4-FFF2-40B4-BE49-F238E27FC236}">
                <a16:creationId xmlns:a16="http://schemas.microsoft.com/office/drawing/2014/main" id="{717E3AE8-5078-4C14-97B2-EB77170243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232" y="1792800"/>
            <a:ext cx="3555231" cy="45522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36FB8C96-DACD-4AAD-BCF8-539E824267BF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ACFDF490-D1FA-4B98-8B9B-255AA67F7C8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D6F036F1-BA99-4AAA-A3A1-1D1B271F9C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AAF7CE4D-1948-4B8A-BA5C-CD8FED127D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1866AA7D-BF6B-4A54-8415-93BC201407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B2BDCCA7-9B74-44BA-85C5-D8A79964B72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E70E8224-CE3A-4F26-AC00-C002696259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348DF8E9-B3D6-44B6-AD96-E61A93CDF2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38CEE9D0-6FE6-40B5-8341-C9FFAD7EC4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A6CAEAC8-DF73-4B27-B4FF-25729C7C82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27648F18-5A7C-4887-BB85-16F1417CE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FA3A6F21-8328-42D9-874C-6EB8CD33B0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01BE85AB-3E16-4723-A696-40C84FF990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DD86DE5A-98B4-4753-AF09-33100E46D8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FBFED2C6-6B37-450E-AD18-AA4D7CB88F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FE693968-6B03-4F38-8D89-BA1CB17CD2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id="{0C28A863-264B-44FE-8FBD-6ECB5F8CC7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122B48D6-AAF4-4BC0-A95B-660CD86032B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9A42C8E7-07F3-4FE3-803D-F21F7B0AE7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68A8B1CE-12DE-45D9-A870-1A94B5454E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3">
              <a:extLst>
                <a:ext uri="{FF2B5EF4-FFF2-40B4-BE49-F238E27FC236}">
                  <a16:creationId xmlns:a16="http://schemas.microsoft.com/office/drawing/2014/main" id="{E10C1B9D-ED37-4030-A5DA-984773D7F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4">
              <a:extLst>
                <a:ext uri="{FF2B5EF4-FFF2-40B4-BE49-F238E27FC236}">
                  <a16:creationId xmlns:a16="http://schemas.microsoft.com/office/drawing/2014/main" id="{947D2DA4-4FB1-46DF-8C85-4989ECC4B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E788104C-2A94-4D2D-B695-E065EBB04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6">
              <a:extLst>
                <a:ext uri="{FF2B5EF4-FFF2-40B4-BE49-F238E27FC236}">
                  <a16:creationId xmlns:a16="http://schemas.microsoft.com/office/drawing/2014/main" id="{1A00B446-C4FD-4772-9142-B6CA7712D4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7">
              <a:extLst>
                <a:ext uri="{FF2B5EF4-FFF2-40B4-BE49-F238E27FC236}">
                  <a16:creationId xmlns:a16="http://schemas.microsoft.com/office/drawing/2014/main" id="{5D656897-F900-4D7F-828E-9BF9D00C41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8">
              <a:extLst>
                <a:ext uri="{FF2B5EF4-FFF2-40B4-BE49-F238E27FC236}">
                  <a16:creationId xmlns:a16="http://schemas.microsoft.com/office/drawing/2014/main" id="{D9A5D172-6E12-4382-B22F-380D0BAC54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7F0A756A-7CD4-49ED-A3E9-3D448C39D3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387C5081-5A37-4F02-805C-C264ECC0F0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913482A3-DD74-474A-8A8A-EA1C09E2B0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82D0352E-4EAF-408A-B4D9-1085AC4151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8A9253F0-84FE-4E6D-BDBE-F6E97FAB72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4" name="Freeform 34">
              <a:extLst>
                <a:ext uri="{FF2B5EF4-FFF2-40B4-BE49-F238E27FC236}">
                  <a16:creationId xmlns:a16="http://schemas.microsoft.com/office/drawing/2014/main" id="{AFADA108-0A7F-4CA3-82B5-553296CEBB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5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6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2643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Bkg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3D3FA531-D43D-4862-A7CC-2E4D619C307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7536" y="1792800"/>
            <a:ext cx="3555231" cy="455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1" name="Content Placeholder 38">
            <a:extLst>
              <a:ext uri="{FF2B5EF4-FFF2-40B4-BE49-F238E27FC236}">
                <a16:creationId xmlns:a16="http://schemas.microsoft.com/office/drawing/2014/main" id="{B3949D2F-D525-4BC8-AB91-E4FC37F9D74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8384" y="1792800"/>
            <a:ext cx="3555231" cy="455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2" name="Content Placeholder 38">
            <a:extLst>
              <a:ext uri="{FF2B5EF4-FFF2-40B4-BE49-F238E27FC236}">
                <a16:creationId xmlns:a16="http://schemas.microsoft.com/office/drawing/2014/main" id="{717E3AE8-5078-4C14-97B2-EB771702438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232" y="1792800"/>
            <a:ext cx="3555231" cy="45522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75073085-080E-4247-9634-F2E24FDB524E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4" name="Group 4">
            <a:extLst>
              <a:ext uri="{FF2B5EF4-FFF2-40B4-BE49-F238E27FC236}">
                <a16:creationId xmlns:a16="http://schemas.microsoft.com/office/drawing/2014/main" id="{C8A4CD95-AD81-4AA8-BE83-A9F510067D8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5195EBD0-99E1-4182-967B-1E62A1241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3DE0654A-A91D-4B61-84F4-FC6A8B38BB0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C2C2F703-D196-44D2-A47A-A5EFF63F87F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A1FE934F-6EBD-4D27-98CB-B3E11A4C206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93D00773-6ACA-4ADE-A839-EF5A94427A1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5055B0D0-24A7-45C3-AEA7-638DAC2A4B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82882935-F5C4-4E22-B0AE-A6763ACE8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89E2F8E6-76F0-435A-A990-508076180F3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D32EED83-9572-473F-9D44-E2C1CC1A8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4">
              <a:extLst>
                <a:ext uri="{FF2B5EF4-FFF2-40B4-BE49-F238E27FC236}">
                  <a16:creationId xmlns:a16="http://schemas.microsoft.com/office/drawing/2014/main" id="{3B23A134-3A91-421F-8454-3B343CA7BB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5">
              <a:extLst>
                <a:ext uri="{FF2B5EF4-FFF2-40B4-BE49-F238E27FC236}">
                  <a16:creationId xmlns:a16="http://schemas.microsoft.com/office/drawing/2014/main" id="{B45EAA9E-8C1E-4240-BF56-392EBF41AD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6">
              <a:extLst>
                <a:ext uri="{FF2B5EF4-FFF2-40B4-BE49-F238E27FC236}">
                  <a16:creationId xmlns:a16="http://schemas.microsoft.com/office/drawing/2014/main" id="{616D9089-08B3-4EE1-9790-16027F39A5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C840C73B-A079-4A72-B375-550032E03F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F9BBF90F-FA23-448D-A5A6-A9ADCEABEC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19">
              <a:extLst>
                <a:ext uri="{FF2B5EF4-FFF2-40B4-BE49-F238E27FC236}">
                  <a16:creationId xmlns:a16="http://schemas.microsoft.com/office/drawing/2014/main" id="{D56D13B0-DEBA-48A0-9580-D0EF228F4F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0">
              <a:extLst>
                <a:ext uri="{FF2B5EF4-FFF2-40B4-BE49-F238E27FC236}">
                  <a16:creationId xmlns:a16="http://schemas.microsoft.com/office/drawing/2014/main" id="{D05AC842-3428-49A2-9567-973656420C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1">
              <a:extLst>
                <a:ext uri="{FF2B5EF4-FFF2-40B4-BE49-F238E27FC236}">
                  <a16:creationId xmlns:a16="http://schemas.microsoft.com/office/drawing/2014/main" id="{5F2A1077-93EB-458E-9E9D-E3E57DBA3A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2">
              <a:extLst>
                <a:ext uri="{FF2B5EF4-FFF2-40B4-BE49-F238E27FC236}">
                  <a16:creationId xmlns:a16="http://schemas.microsoft.com/office/drawing/2014/main" id="{0FA52FE0-62E3-4CBC-AC5D-1417724B43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3">
              <a:extLst>
                <a:ext uri="{FF2B5EF4-FFF2-40B4-BE49-F238E27FC236}">
                  <a16:creationId xmlns:a16="http://schemas.microsoft.com/office/drawing/2014/main" id="{5C49E982-90A2-4F2A-A118-7CC73DEE31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4">
              <a:extLst>
                <a:ext uri="{FF2B5EF4-FFF2-40B4-BE49-F238E27FC236}">
                  <a16:creationId xmlns:a16="http://schemas.microsoft.com/office/drawing/2014/main" id="{F1BA7C6B-0956-4C8B-9CB2-C291F833A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5">
              <a:extLst>
                <a:ext uri="{FF2B5EF4-FFF2-40B4-BE49-F238E27FC236}">
                  <a16:creationId xmlns:a16="http://schemas.microsoft.com/office/drawing/2014/main" id="{A7CABB1B-2F88-48CC-919C-AE4C58DD4D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6">
              <a:extLst>
                <a:ext uri="{FF2B5EF4-FFF2-40B4-BE49-F238E27FC236}">
                  <a16:creationId xmlns:a16="http://schemas.microsoft.com/office/drawing/2014/main" id="{6F9E787A-C237-4562-8DBA-A62D2E61A1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7">
              <a:extLst>
                <a:ext uri="{FF2B5EF4-FFF2-40B4-BE49-F238E27FC236}">
                  <a16:creationId xmlns:a16="http://schemas.microsoft.com/office/drawing/2014/main" id="{B6093075-29FF-4B77-B74B-12C30F4FB9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28">
              <a:extLst>
                <a:ext uri="{FF2B5EF4-FFF2-40B4-BE49-F238E27FC236}">
                  <a16:creationId xmlns:a16="http://schemas.microsoft.com/office/drawing/2014/main" id="{FB037AC7-2AE4-4E93-AFBE-3D307C072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29">
              <a:extLst>
                <a:ext uri="{FF2B5EF4-FFF2-40B4-BE49-F238E27FC236}">
                  <a16:creationId xmlns:a16="http://schemas.microsoft.com/office/drawing/2014/main" id="{19592FE5-31E0-4E36-994C-3399E6EDA5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0">
              <a:extLst>
                <a:ext uri="{FF2B5EF4-FFF2-40B4-BE49-F238E27FC236}">
                  <a16:creationId xmlns:a16="http://schemas.microsoft.com/office/drawing/2014/main" id="{E8C80F97-7BFF-4EB7-B8F3-45F7D8A7AB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1">
              <a:extLst>
                <a:ext uri="{FF2B5EF4-FFF2-40B4-BE49-F238E27FC236}">
                  <a16:creationId xmlns:a16="http://schemas.microsoft.com/office/drawing/2014/main" id="{A840B8D0-E90B-4909-9D08-9C50B7A7A8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2">
              <a:extLst>
                <a:ext uri="{FF2B5EF4-FFF2-40B4-BE49-F238E27FC236}">
                  <a16:creationId xmlns:a16="http://schemas.microsoft.com/office/drawing/2014/main" id="{D6822A7A-470F-4399-A66F-141A32EBF4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71BBBC99-BB54-4D9D-9212-42C00E1CD4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4" name="Freeform 34">
              <a:extLst>
                <a:ext uri="{FF2B5EF4-FFF2-40B4-BE49-F238E27FC236}">
                  <a16:creationId xmlns:a16="http://schemas.microsoft.com/office/drawing/2014/main" id="{0EF8E705-CF88-4B18-9524-CFFFA586F7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sp>
        <p:nvSpPr>
          <p:cNvPr id="75" name="Title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6" name="Text Placeholder 39">
            <a:extLst>
              <a:ext uri="{FF2B5EF4-FFF2-40B4-BE49-F238E27FC236}">
                <a16:creationId xmlns:a16="http://schemas.microsoft.com/office/drawing/2014/main" id="{D166F70D-2E9C-4DE2-9EA8-92A1AA10D3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536" y="952280"/>
            <a:ext cx="11176927" cy="347146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3"/>
                </a:solidFill>
              </a:defRPr>
            </a:lvl1pPr>
            <a:lvl2pPr marL="2700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04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599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C834DA-6B3C-4CEC-9416-DED1EE410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AEB0CDC3-6E25-4D05-B90E-63496D7182F3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459F3EBB-45CA-4038-9A38-A3BE2B3BCA4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3CC77940-193E-4A00-87AC-6C9B7E8324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A9E01757-6FED-4CD8-A8B0-39587A37A9B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D4B3DB6D-F440-44D0-B630-9AEBA31AB2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C2BC2325-1E12-46FF-8118-07938B95451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79C7C6A0-5E49-40FC-8182-35F033F73CB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6782AF78-588A-4D13-846F-9225A94281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57D91898-6E70-4EEE-8CC2-FD873BA32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CBE5BC3E-5337-4C84-A758-937BAE4D96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E84DA27A-75DF-44A9-9D55-D5E59593DB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4">
              <a:extLst>
                <a:ext uri="{FF2B5EF4-FFF2-40B4-BE49-F238E27FC236}">
                  <a16:creationId xmlns:a16="http://schemas.microsoft.com/office/drawing/2014/main" id="{74EF9EBB-6ED8-4F5D-97C1-68FD82CC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DF22F4DB-8894-4CC5-BE3A-6E37817CF2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D66394CF-E493-4176-8B41-BE6AEBBD72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64F518F3-890B-4E33-B978-E8649667E8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id="{8B54CE34-D0D5-44A3-8B5D-9AC1E97EC5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51F685DC-DECA-4D1B-B179-1758B50C6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20">
              <a:extLst>
                <a:ext uri="{FF2B5EF4-FFF2-40B4-BE49-F238E27FC236}">
                  <a16:creationId xmlns:a16="http://schemas.microsoft.com/office/drawing/2014/main" id="{5DBA7629-CDE9-4C04-8A69-BFF47D8625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1">
              <a:extLst>
                <a:ext uri="{FF2B5EF4-FFF2-40B4-BE49-F238E27FC236}">
                  <a16:creationId xmlns:a16="http://schemas.microsoft.com/office/drawing/2014/main" id="{478670CC-3058-4A9D-91DD-2EDB6F7435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2">
              <a:extLst>
                <a:ext uri="{FF2B5EF4-FFF2-40B4-BE49-F238E27FC236}">
                  <a16:creationId xmlns:a16="http://schemas.microsoft.com/office/drawing/2014/main" id="{7D1E240F-3C4F-4806-A11F-843B11B472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3">
              <a:extLst>
                <a:ext uri="{FF2B5EF4-FFF2-40B4-BE49-F238E27FC236}">
                  <a16:creationId xmlns:a16="http://schemas.microsoft.com/office/drawing/2014/main" id="{306994D4-0686-4D98-BE99-55E31EA4B5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4">
              <a:extLst>
                <a:ext uri="{FF2B5EF4-FFF2-40B4-BE49-F238E27FC236}">
                  <a16:creationId xmlns:a16="http://schemas.microsoft.com/office/drawing/2014/main" id="{A5E7EE05-0040-40D1-8F67-2D62E4EF9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5">
              <a:extLst>
                <a:ext uri="{FF2B5EF4-FFF2-40B4-BE49-F238E27FC236}">
                  <a16:creationId xmlns:a16="http://schemas.microsoft.com/office/drawing/2014/main" id="{746296C3-29CC-42FF-841E-998609CC6C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6">
              <a:extLst>
                <a:ext uri="{FF2B5EF4-FFF2-40B4-BE49-F238E27FC236}">
                  <a16:creationId xmlns:a16="http://schemas.microsoft.com/office/drawing/2014/main" id="{4621F1D1-02FC-4A9C-AAE4-951C38D42D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7">
              <a:extLst>
                <a:ext uri="{FF2B5EF4-FFF2-40B4-BE49-F238E27FC236}">
                  <a16:creationId xmlns:a16="http://schemas.microsoft.com/office/drawing/2014/main" id="{9395DBE8-12ED-4F5A-8C45-9D2817EFF7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8">
              <a:extLst>
                <a:ext uri="{FF2B5EF4-FFF2-40B4-BE49-F238E27FC236}">
                  <a16:creationId xmlns:a16="http://schemas.microsoft.com/office/drawing/2014/main" id="{A95AC96B-E830-4C74-98CC-142DFAF1D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9">
              <a:extLst>
                <a:ext uri="{FF2B5EF4-FFF2-40B4-BE49-F238E27FC236}">
                  <a16:creationId xmlns:a16="http://schemas.microsoft.com/office/drawing/2014/main" id="{C8114DD1-24FD-4C3F-8D9D-93D4E98A7B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30">
              <a:extLst>
                <a:ext uri="{FF2B5EF4-FFF2-40B4-BE49-F238E27FC236}">
                  <a16:creationId xmlns:a16="http://schemas.microsoft.com/office/drawing/2014/main" id="{6B61E677-FF44-49D5-80E9-3F6A38CE38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1">
              <a:extLst>
                <a:ext uri="{FF2B5EF4-FFF2-40B4-BE49-F238E27FC236}">
                  <a16:creationId xmlns:a16="http://schemas.microsoft.com/office/drawing/2014/main" id="{C7133600-04FB-490C-B01B-88B92B2A5B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2">
              <a:extLst>
                <a:ext uri="{FF2B5EF4-FFF2-40B4-BE49-F238E27FC236}">
                  <a16:creationId xmlns:a16="http://schemas.microsoft.com/office/drawing/2014/main" id="{56119EDC-A23D-4660-A9A8-DA43DB0A32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3">
              <a:extLst>
                <a:ext uri="{FF2B5EF4-FFF2-40B4-BE49-F238E27FC236}">
                  <a16:creationId xmlns:a16="http://schemas.microsoft.com/office/drawing/2014/main" id="{861CAE2F-DA0B-4F7E-819B-6126337933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4">
              <a:extLst>
                <a:ext uri="{FF2B5EF4-FFF2-40B4-BE49-F238E27FC236}">
                  <a16:creationId xmlns:a16="http://schemas.microsoft.com/office/drawing/2014/main" id="{2BC2C69E-805F-4359-99C6-F29A869D2F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956914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703" y="5889840"/>
            <a:ext cx="53942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69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7837" y="5891595"/>
            <a:ext cx="53942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086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7442" y="5891595"/>
            <a:ext cx="540000" cy="540000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3670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8681" y="5891980"/>
            <a:ext cx="539429" cy="540000"/>
          </a:xfrm>
          <a:prstGeom prst="rect">
            <a:avLst/>
          </a:prstGeom>
        </p:spPr>
      </p:pic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785965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Top Corners Rounded 1">
            <a:extLst>
              <a:ext uri="{FF2B5EF4-FFF2-40B4-BE49-F238E27FC236}">
                <a16:creationId xmlns:a16="http://schemas.microsoft.com/office/drawing/2014/main" id="{564F98D5-FECB-4466-A42B-599CBF4A4111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797D0377-2625-417B-A116-4F1040A217D6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0"/>
            <a:ext cx="8937316" cy="6858000"/>
          </a:xfrm>
          <a:custGeom>
            <a:avLst/>
            <a:gdLst>
              <a:gd name="T0" fmla="*/ 18772 w 18772"/>
              <a:gd name="T1" fmla="*/ 7199 h 14399"/>
              <a:gd name="T2" fmla="*/ 18772 w 18772"/>
              <a:gd name="T3" fmla="*/ 7199 h 14399"/>
              <a:gd name="T4" fmla="*/ 16732 w 18772"/>
              <a:gd name="T5" fmla="*/ 0 h 14399"/>
              <a:gd name="T6" fmla="*/ 0 w 18772"/>
              <a:gd name="T7" fmla="*/ 0 h 14399"/>
              <a:gd name="T8" fmla="*/ 0 w 18772"/>
              <a:gd name="T9" fmla="*/ 14399 h 14399"/>
              <a:gd name="T10" fmla="*/ 16732 w 18772"/>
              <a:gd name="T11" fmla="*/ 14399 h 14399"/>
              <a:gd name="T12" fmla="*/ 18772 w 18772"/>
              <a:gd name="T13" fmla="*/ 7199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72" h="14399">
                <a:moveTo>
                  <a:pt x="18772" y="7199"/>
                </a:moveTo>
                <a:lnTo>
                  <a:pt x="18772" y="7199"/>
                </a:lnTo>
                <a:cubicBezTo>
                  <a:pt x="18772" y="4558"/>
                  <a:pt x="18025" y="2091"/>
                  <a:pt x="16732" y="0"/>
                </a:cubicBezTo>
                <a:lnTo>
                  <a:pt x="0" y="0"/>
                </a:lnTo>
                <a:lnTo>
                  <a:pt x="0" y="14399"/>
                </a:lnTo>
                <a:lnTo>
                  <a:pt x="16732" y="14399"/>
                </a:lnTo>
                <a:cubicBezTo>
                  <a:pt x="18025" y="12306"/>
                  <a:pt x="18772" y="9839"/>
                  <a:pt x="18772" y="719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GB" sz="45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D0B6107-40D6-432A-B111-1C234AEE49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02" name="Group 4">
            <a:extLst>
              <a:ext uri="{FF2B5EF4-FFF2-40B4-BE49-F238E27FC236}">
                <a16:creationId xmlns:a16="http://schemas.microsoft.com/office/drawing/2014/main" id="{C557D476-3E95-463E-A66F-6C9500C59E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103" name="Freeform 5">
              <a:extLst>
                <a:ext uri="{FF2B5EF4-FFF2-40B4-BE49-F238E27FC236}">
                  <a16:creationId xmlns:a16="http://schemas.microsoft.com/office/drawing/2014/main" id="{D450CB26-F805-4342-832A-5EA3C8CB05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4" name="Freeform 6">
              <a:extLst>
                <a:ext uri="{FF2B5EF4-FFF2-40B4-BE49-F238E27FC236}">
                  <a16:creationId xmlns:a16="http://schemas.microsoft.com/office/drawing/2014/main" id="{5DB18796-1841-4614-B969-E92601B854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5" name="Freeform 7">
              <a:extLst>
                <a:ext uri="{FF2B5EF4-FFF2-40B4-BE49-F238E27FC236}">
                  <a16:creationId xmlns:a16="http://schemas.microsoft.com/office/drawing/2014/main" id="{2E9DD3DD-412D-4980-86A2-C6F40951EE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6" name="Freeform 8">
              <a:extLst>
                <a:ext uri="{FF2B5EF4-FFF2-40B4-BE49-F238E27FC236}">
                  <a16:creationId xmlns:a16="http://schemas.microsoft.com/office/drawing/2014/main" id="{FE5FFC93-AF7E-4B71-A9DC-58DF65A1F72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7" name="Freeform 9">
              <a:extLst>
                <a:ext uri="{FF2B5EF4-FFF2-40B4-BE49-F238E27FC236}">
                  <a16:creationId xmlns:a16="http://schemas.microsoft.com/office/drawing/2014/main" id="{41E2705C-5610-4B7D-9D5C-7145A8AFD0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9C77E7DB-4454-4C26-B3A8-851B136EA8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9BB6D74C-2676-46C6-87AA-15293E9289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55187F48-ACE5-495A-8687-C483DB9E2AE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E64B89D-B351-494A-B7AC-4C91555D28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FFA0A55E-DBBA-468B-9EBB-E5F3A84D47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F134EF2C-2092-43BB-ABEA-A2C1640834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91E94908-B591-4F45-BF67-E90051F79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AC9CE686-7FC7-4006-BE54-B76DF8CDC1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6" name="Freeform 18">
              <a:extLst>
                <a:ext uri="{FF2B5EF4-FFF2-40B4-BE49-F238E27FC236}">
                  <a16:creationId xmlns:a16="http://schemas.microsoft.com/office/drawing/2014/main" id="{00E38E76-439B-430E-9E04-F8DB45D8F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7" name="Freeform 19">
              <a:extLst>
                <a:ext uri="{FF2B5EF4-FFF2-40B4-BE49-F238E27FC236}">
                  <a16:creationId xmlns:a16="http://schemas.microsoft.com/office/drawing/2014/main" id="{C1318B8A-B6FC-46CD-BA6C-AADB5AE126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8" name="Freeform 20">
              <a:extLst>
                <a:ext uri="{FF2B5EF4-FFF2-40B4-BE49-F238E27FC236}">
                  <a16:creationId xmlns:a16="http://schemas.microsoft.com/office/drawing/2014/main" id="{11A2D5F3-7254-4B89-819E-BC52C404DE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19" name="Freeform 21">
              <a:extLst>
                <a:ext uri="{FF2B5EF4-FFF2-40B4-BE49-F238E27FC236}">
                  <a16:creationId xmlns:a16="http://schemas.microsoft.com/office/drawing/2014/main" id="{CF84C4CC-D7D5-44E0-BE8A-2899D1502AA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0" name="Freeform 22">
              <a:extLst>
                <a:ext uri="{FF2B5EF4-FFF2-40B4-BE49-F238E27FC236}">
                  <a16:creationId xmlns:a16="http://schemas.microsoft.com/office/drawing/2014/main" id="{C834844F-6903-4D4C-8FA7-877C9A0A860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1" name="Freeform 23">
              <a:extLst>
                <a:ext uri="{FF2B5EF4-FFF2-40B4-BE49-F238E27FC236}">
                  <a16:creationId xmlns:a16="http://schemas.microsoft.com/office/drawing/2014/main" id="{947EAAC8-8023-4975-8A5A-B6163CAC03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2" name="Freeform 24">
              <a:extLst>
                <a:ext uri="{FF2B5EF4-FFF2-40B4-BE49-F238E27FC236}">
                  <a16:creationId xmlns:a16="http://schemas.microsoft.com/office/drawing/2014/main" id="{066C9A0C-91A8-4C64-B158-45D7BD629B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3" name="Freeform 25">
              <a:extLst>
                <a:ext uri="{FF2B5EF4-FFF2-40B4-BE49-F238E27FC236}">
                  <a16:creationId xmlns:a16="http://schemas.microsoft.com/office/drawing/2014/main" id="{E21C8121-B488-45FE-8782-AA357A5515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4" name="Freeform 26">
              <a:extLst>
                <a:ext uri="{FF2B5EF4-FFF2-40B4-BE49-F238E27FC236}">
                  <a16:creationId xmlns:a16="http://schemas.microsoft.com/office/drawing/2014/main" id="{431C4A1A-EB25-4D1E-A865-6683FC4ABA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5" name="Freeform 27">
              <a:extLst>
                <a:ext uri="{FF2B5EF4-FFF2-40B4-BE49-F238E27FC236}">
                  <a16:creationId xmlns:a16="http://schemas.microsoft.com/office/drawing/2014/main" id="{4246428E-A2EB-4BAD-80A0-0B42A854B0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6" name="Freeform 28">
              <a:extLst>
                <a:ext uri="{FF2B5EF4-FFF2-40B4-BE49-F238E27FC236}">
                  <a16:creationId xmlns:a16="http://schemas.microsoft.com/office/drawing/2014/main" id="{C8888B69-B91D-4101-B4EE-4476D4B5E5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7" name="Freeform 29">
              <a:extLst>
                <a:ext uri="{FF2B5EF4-FFF2-40B4-BE49-F238E27FC236}">
                  <a16:creationId xmlns:a16="http://schemas.microsoft.com/office/drawing/2014/main" id="{C04833C4-44F3-424E-B3ED-20CDBB296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8" name="Freeform 30">
              <a:extLst>
                <a:ext uri="{FF2B5EF4-FFF2-40B4-BE49-F238E27FC236}">
                  <a16:creationId xmlns:a16="http://schemas.microsoft.com/office/drawing/2014/main" id="{206D3506-4346-49ED-86BF-F0AAB9724F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29" name="Freeform 31">
              <a:extLst>
                <a:ext uri="{FF2B5EF4-FFF2-40B4-BE49-F238E27FC236}">
                  <a16:creationId xmlns:a16="http://schemas.microsoft.com/office/drawing/2014/main" id="{05084593-FCF9-4EBF-88C2-6BC8CCBB53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0" name="Freeform 32">
              <a:extLst>
                <a:ext uri="{FF2B5EF4-FFF2-40B4-BE49-F238E27FC236}">
                  <a16:creationId xmlns:a16="http://schemas.microsoft.com/office/drawing/2014/main" id="{7E687B5B-D19F-44D9-87C8-646E24B3CB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1" name="Freeform 33">
              <a:extLst>
                <a:ext uri="{FF2B5EF4-FFF2-40B4-BE49-F238E27FC236}">
                  <a16:creationId xmlns:a16="http://schemas.microsoft.com/office/drawing/2014/main" id="{B5BC139C-5088-44E0-B697-7BDA095F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132" name="Freeform 34">
              <a:extLst>
                <a:ext uri="{FF2B5EF4-FFF2-40B4-BE49-F238E27FC236}">
                  <a16:creationId xmlns:a16="http://schemas.microsoft.com/office/drawing/2014/main" id="{91071635-8E7B-40F1-A792-69020A5EB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29741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tt Char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536" y="1515600"/>
            <a:ext cx="11176927" cy="4824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26BBC-D17A-4298-9135-02065894218B}" type="datetime1">
              <a:rPr lang="en-GB" smtClean="0"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AC84E252-39C3-4F6B-9F2C-CC2D71D13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Rectangle: Top Corners Rounded 37">
            <a:extLst>
              <a:ext uri="{FF2B5EF4-FFF2-40B4-BE49-F238E27FC236}">
                <a16:creationId xmlns:a16="http://schemas.microsoft.com/office/drawing/2014/main" id="{35D35E67-7385-46E7-B3A7-DF6767DB3522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9" name="Group 4">
            <a:extLst>
              <a:ext uri="{FF2B5EF4-FFF2-40B4-BE49-F238E27FC236}">
                <a16:creationId xmlns:a16="http://schemas.microsoft.com/office/drawing/2014/main" id="{98F03089-EF6D-4E0F-A99D-C9DE8CC272B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63DDAEB9-5766-4290-8B1B-41B223074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BBA1A004-24EB-4F1E-BFD4-29B3A864EC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81BE9A7F-8B08-4D60-983C-EBF5237151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554EAAF-5310-4886-889A-3E4AC5D4C1B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3B247DF3-D01C-4C58-86FE-1BCE6EFD4C7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7676AA68-2B26-4AB0-8A36-A8FC0A8D28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EEA69845-D9C4-40D1-AFA5-5A1EEDC927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8CD94A60-6AD0-4F73-891E-B21BCF185E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56B1BA35-B282-4445-8673-4C34359B49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4D771336-2932-4AE2-8B5F-6F4646AED5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166B0A41-8A62-4200-9B3E-CFE3D21D21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8F686DE4-8208-44BA-8C4F-5E508212A5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2B8BBF60-7010-490B-A112-61CCEE12DB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8">
              <a:extLst>
                <a:ext uri="{FF2B5EF4-FFF2-40B4-BE49-F238E27FC236}">
                  <a16:creationId xmlns:a16="http://schemas.microsoft.com/office/drawing/2014/main" id="{933B34E0-0190-4403-AB89-D9C6B154E6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9">
              <a:extLst>
                <a:ext uri="{FF2B5EF4-FFF2-40B4-BE49-F238E27FC236}">
                  <a16:creationId xmlns:a16="http://schemas.microsoft.com/office/drawing/2014/main" id="{C0DFCD7A-9C3B-4816-9168-C65E63D8F8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20">
              <a:extLst>
                <a:ext uri="{FF2B5EF4-FFF2-40B4-BE49-F238E27FC236}">
                  <a16:creationId xmlns:a16="http://schemas.microsoft.com/office/drawing/2014/main" id="{489E5883-AB80-4D8B-803E-1DFC94CC01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1">
              <a:extLst>
                <a:ext uri="{FF2B5EF4-FFF2-40B4-BE49-F238E27FC236}">
                  <a16:creationId xmlns:a16="http://schemas.microsoft.com/office/drawing/2014/main" id="{CF70AA3F-B3CA-48B7-9EC9-529739328FD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2">
              <a:extLst>
                <a:ext uri="{FF2B5EF4-FFF2-40B4-BE49-F238E27FC236}">
                  <a16:creationId xmlns:a16="http://schemas.microsoft.com/office/drawing/2014/main" id="{052FE9F9-7CD3-4336-B6CF-8109D441ECB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3">
              <a:extLst>
                <a:ext uri="{FF2B5EF4-FFF2-40B4-BE49-F238E27FC236}">
                  <a16:creationId xmlns:a16="http://schemas.microsoft.com/office/drawing/2014/main" id="{A6B2B870-36AD-429E-A88E-5ACE1B4FE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4">
              <a:extLst>
                <a:ext uri="{FF2B5EF4-FFF2-40B4-BE49-F238E27FC236}">
                  <a16:creationId xmlns:a16="http://schemas.microsoft.com/office/drawing/2014/main" id="{6795AE38-0819-495A-974A-A116C309EE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5">
              <a:extLst>
                <a:ext uri="{FF2B5EF4-FFF2-40B4-BE49-F238E27FC236}">
                  <a16:creationId xmlns:a16="http://schemas.microsoft.com/office/drawing/2014/main" id="{491B96FE-D85A-42B1-8EDD-5BD3C4AD68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6">
              <a:extLst>
                <a:ext uri="{FF2B5EF4-FFF2-40B4-BE49-F238E27FC236}">
                  <a16:creationId xmlns:a16="http://schemas.microsoft.com/office/drawing/2014/main" id="{C03417A9-9F35-44E6-A10B-FEA9AB77B0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7">
              <a:extLst>
                <a:ext uri="{FF2B5EF4-FFF2-40B4-BE49-F238E27FC236}">
                  <a16:creationId xmlns:a16="http://schemas.microsoft.com/office/drawing/2014/main" id="{E2D89C05-EDAD-4918-9209-6CFBA5708B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8">
              <a:extLst>
                <a:ext uri="{FF2B5EF4-FFF2-40B4-BE49-F238E27FC236}">
                  <a16:creationId xmlns:a16="http://schemas.microsoft.com/office/drawing/2014/main" id="{A28F8BEB-5177-4CFD-94BF-DD33FE2477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9">
              <a:extLst>
                <a:ext uri="{FF2B5EF4-FFF2-40B4-BE49-F238E27FC236}">
                  <a16:creationId xmlns:a16="http://schemas.microsoft.com/office/drawing/2014/main" id="{C2B7A11A-09DE-439D-A6AD-30DF922B5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30">
              <a:extLst>
                <a:ext uri="{FF2B5EF4-FFF2-40B4-BE49-F238E27FC236}">
                  <a16:creationId xmlns:a16="http://schemas.microsoft.com/office/drawing/2014/main" id="{D8B44C8D-F186-49EC-8335-6AB7D22D3E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E1549FFC-F9C3-4AE6-BE4E-F63D3F55F1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045D4C48-007B-43FD-B4C0-D5EE400379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0B058D23-DC79-44C0-97AF-45D2B8E1EA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B39E2F86-C698-4ADF-BE67-4D2ADE06AD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107741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icture Placeholder 43">
            <a:extLst>
              <a:ext uri="{FF2B5EF4-FFF2-40B4-BE49-F238E27FC236}">
                <a16:creationId xmlns:a16="http://schemas.microsoft.com/office/drawing/2014/main" id="{56036660-0BE1-4F91-B7B8-32AAA2761C29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810848" y="3751200"/>
            <a:ext cx="5679370" cy="5679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0A8BF4F1-FFC7-4FFF-BB76-E153A209A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39347-1E1B-44A1-8B67-A0F11AAF8508}" type="datetime1">
              <a:rPr lang="en-GB" smtClean="0"/>
              <a:t>23/12/2021</a:t>
            </a:fld>
            <a:endParaRPr lang="en-GB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1F06293E-86E6-4FCA-8559-E895633C6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872032BF-9969-45A1-8479-6BBCB999B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1CA9A68A-3A7D-4351-A637-CF6C35F0A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6" y="2591731"/>
            <a:ext cx="5940387" cy="387798"/>
          </a:xfrm>
        </p:spPr>
        <p:txBody>
          <a:bodyPr anchor="ctr" anchorCtr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Picture Placeholder 43">
            <a:extLst>
              <a:ext uri="{FF2B5EF4-FFF2-40B4-BE49-F238E27FC236}">
                <a16:creationId xmlns:a16="http://schemas.microsoft.com/office/drawing/2014/main" id="{56269153-1917-48DD-86AD-44F0858E44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381416" y="-2718000"/>
            <a:ext cx="6966453" cy="6966000"/>
          </a:xfrm>
          <a:prstGeom prst="ellipse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51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ие числа, вариант 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олилиния: Фигура 17">
            <a:extLst>
              <a:ext uri="{FF2B5EF4-FFF2-40B4-BE49-F238E27FC236}">
                <a16:creationId xmlns:a16="http://schemas.microsoft.com/office/drawing/2014/main" id="{730F7266-25A0-4B3A-A8CE-F083ECC9D4C6}"/>
              </a:ext>
            </a:extLst>
          </p:cNvPr>
          <p:cNvSpPr/>
          <p:nvPr userDrawn="1"/>
        </p:nvSpPr>
        <p:spPr>
          <a:xfrm>
            <a:off x="0" y="2539992"/>
            <a:ext cx="5373076" cy="4318008"/>
          </a:xfrm>
          <a:custGeom>
            <a:avLst/>
            <a:gdLst>
              <a:gd name="connsiteX0" fmla="*/ 4972877 w 5373076"/>
              <a:gd name="connsiteY0" fmla="*/ 1816430 h 4318008"/>
              <a:gd name="connsiteX1" fmla="*/ 5211912 w 5373076"/>
              <a:gd name="connsiteY1" fmla="*/ 2046590 h 4318008"/>
              <a:gd name="connsiteX2" fmla="*/ 4866804 w 5373076"/>
              <a:gd name="connsiteY2" fmla="*/ 2013272 h 4318008"/>
              <a:gd name="connsiteX3" fmla="*/ 3721849 w 5373076"/>
              <a:gd name="connsiteY3" fmla="*/ 1808102 h 4318008"/>
              <a:gd name="connsiteX4" fmla="*/ 3854624 w 5373076"/>
              <a:gd name="connsiteY4" fmla="*/ 2524110 h 4318008"/>
              <a:gd name="connsiteX5" fmla="*/ 3419634 w 5373076"/>
              <a:gd name="connsiteY5" fmla="*/ 2322178 h 4318008"/>
              <a:gd name="connsiteX6" fmla="*/ 3604566 w 5373076"/>
              <a:gd name="connsiteY6" fmla="*/ 1945430 h 4318008"/>
              <a:gd name="connsiteX7" fmla="*/ 2301472 w 5373076"/>
              <a:gd name="connsiteY7" fmla="*/ 1771765 h 4318008"/>
              <a:gd name="connsiteX8" fmla="*/ 3237442 w 5373076"/>
              <a:gd name="connsiteY8" fmla="*/ 2134997 h 4318008"/>
              <a:gd name="connsiteX9" fmla="*/ 3266331 w 5373076"/>
              <a:gd name="connsiteY9" fmla="*/ 2949530 h 4318008"/>
              <a:gd name="connsiteX10" fmla="*/ 1897852 w 5373076"/>
              <a:gd name="connsiteY10" fmla="*/ 4318008 h 4318008"/>
              <a:gd name="connsiteX11" fmla="*/ 134565 w 5373076"/>
              <a:gd name="connsiteY11" fmla="*/ 4318008 h 4318008"/>
              <a:gd name="connsiteX12" fmla="*/ 0 w 5373076"/>
              <a:gd name="connsiteY12" fmla="*/ 4183443 h 4318008"/>
              <a:gd name="connsiteX13" fmla="*/ 0 w 5373076"/>
              <a:gd name="connsiteY13" fmla="*/ 2855805 h 4318008"/>
              <a:gd name="connsiteX14" fmla="*/ 5243699 w 5373076"/>
              <a:gd name="connsiteY14" fmla="*/ 652159 h 4318008"/>
              <a:gd name="connsiteX15" fmla="*/ 5058767 w 5373076"/>
              <a:gd name="connsiteY15" fmla="*/ 1028908 h 4318008"/>
              <a:gd name="connsiteX16" fmla="*/ 4960786 w 5373076"/>
              <a:gd name="connsiteY16" fmla="*/ 983422 h 4318008"/>
              <a:gd name="connsiteX17" fmla="*/ 3473588 w 5373076"/>
              <a:gd name="connsiteY17" fmla="*/ 405712 h 4318008"/>
              <a:gd name="connsiteX18" fmla="*/ 4094196 w 5373076"/>
              <a:gd name="connsiteY18" fmla="*/ 1366894 h 4318008"/>
              <a:gd name="connsiteX19" fmla="*/ 3778134 w 5373076"/>
              <a:gd name="connsiteY19" fmla="*/ 1741309 h 4318008"/>
              <a:gd name="connsiteX20" fmla="*/ 2824519 w 5373076"/>
              <a:gd name="connsiteY20" fmla="*/ 1808100 h 4318008"/>
              <a:gd name="connsiteX21" fmla="*/ 4454991 w 5373076"/>
              <a:gd name="connsiteY21" fmla="*/ 0 h 4318008"/>
              <a:gd name="connsiteX22" fmla="*/ 5373076 w 5373076"/>
              <a:gd name="connsiteY22" fmla="*/ 32358 h 4318008"/>
              <a:gd name="connsiteX23" fmla="*/ 4628717 w 5373076"/>
              <a:gd name="connsiteY23" fmla="*/ 1349015 h 4318008"/>
              <a:gd name="connsiteX24" fmla="*/ 4094010 w 5373076"/>
              <a:gd name="connsiteY24" fmla="*/ 779481 h 4318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373076" h="4318008">
                <a:moveTo>
                  <a:pt x="4972877" y="1816430"/>
                </a:moveTo>
                <a:lnTo>
                  <a:pt x="5211912" y="2046590"/>
                </a:lnTo>
                <a:lnTo>
                  <a:pt x="4866804" y="2013272"/>
                </a:lnTo>
                <a:close/>
                <a:moveTo>
                  <a:pt x="3721849" y="1808102"/>
                </a:moveTo>
                <a:lnTo>
                  <a:pt x="3854624" y="2524110"/>
                </a:lnTo>
                <a:lnTo>
                  <a:pt x="3419634" y="2322178"/>
                </a:lnTo>
                <a:lnTo>
                  <a:pt x="3604566" y="1945430"/>
                </a:lnTo>
                <a:close/>
                <a:moveTo>
                  <a:pt x="2301472" y="1771765"/>
                </a:moveTo>
                <a:lnTo>
                  <a:pt x="3237442" y="2134997"/>
                </a:lnTo>
                <a:lnTo>
                  <a:pt x="3266331" y="2949530"/>
                </a:lnTo>
                <a:lnTo>
                  <a:pt x="1897852" y="4318008"/>
                </a:lnTo>
                <a:lnTo>
                  <a:pt x="134565" y="4318008"/>
                </a:lnTo>
                <a:lnTo>
                  <a:pt x="0" y="4183443"/>
                </a:lnTo>
                <a:lnTo>
                  <a:pt x="0" y="2855805"/>
                </a:lnTo>
                <a:close/>
                <a:moveTo>
                  <a:pt x="5243699" y="652159"/>
                </a:moveTo>
                <a:lnTo>
                  <a:pt x="5058767" y="1028908"/>
                </a:lnTo>
                <a:lnTo>
                  <a:pt x="4960786" y="983422"/>
                </a:lnTo>
                <a:close/>
                <a:moveTo>
                  <a:pt x="3473588" y="405712"/>
                </a:moveTo>
                <a:lnTo>
                  <a:pt x="4094196" y="1366894"/>
                </a:lnTo>
                <a:lnTo>
                  <a:pt x="3778134" y="1741309"/>
                </a:lnTo>
                <a:lnTo>
                  <a:pt x="2824519" y="1808100"/>
                </a:lnTo>
                <a:close/>
                <a:moveTo>
                  <a:pt x="4454991" y="0"/>
                </a:moveTo>
                <a:lnTo>
                  <a:pt x="5373076" y="32358"/>
                </a:lnTo>
                <a:lnTo>
                  <a:pt x="4628717" y="1349015"/>
                </a:lnTo>
                <a:lnTo>
                  <a:pt x="4094010" y="77948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32000" y="432000"/>
            <a:ext cx="11340000" cy="432000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 userDrawn="1">
            <p:ph sz="half" idx="1"/>
          </p:nvPr>
        </p:nvSpPr>
        <p:spPr>
          <a:xfrm>
            <a:off x="906843" y="3429050"/>
            <a:ext cx="4522314" cy="2762949"/>
          </a:xfrm>
        </p:spPr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9E47D86-FD0D-44D0-9B7F-9EDEBD11F9D6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A29F8B3-4723-4928-83E5-76C29D05F2FE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 rtlCol="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7867C73D-EE16-41D1-B7CE-A35C765E3B8D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774740" y="3429000"/>
            <a:ext cx="4522407" cy="2762250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FEF984BB-176D-4924-ADAD-52FBC95B0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6463" y="2278063"/>
            <a:ext cx="4522787" cy="885825"/>
          </a:xfrm>
        </p:spPr>
        <p:txBody>
          <a:bodyPr rtlCol="0" anchor="ctr"/>
          <a:lstStyle>
            <a:lvl1pPr marL="0" indent="0">
              <a:buNone/>
              <a:defRPr sz="8000" b="1">
                <a:latin typeface="+mj-lt"/>
              </a:defRPr>
            </a:lvl1pPr>
            <a:lvl2pPr marL="266700" indent="0">
              <a:buNone/>
              <a:defRPr sz="8000">
                <a:latin typeface="+mj-lt"/>
              </a:defRPr>
            </a:lvl2pPr>
            <a:lvl3pPr marL="542925" indent="0">
              <a:buNone/>
              <a:defRPr sz="8000">
                <a:latin typeface="+mj-lt"/>
              </a:defRPr>
            </a:lvl3pPr>
            <a:lvl4pPr marL="809625" indent="0">
              <a:buNone/>
              <a:defRPr sz="8000">
                <a:latin typeface="+mj-lt"/>
              </a:defRPr>
            </a:lvl4pPr>
            <a:lvl5pPr marL="1076325" indent="0">
              <a:buNone/>
              <a:defRPr sz="8000">
                <a:latin typeface="+mj-lt"/>
              </a:defRPr>
            </a:lvl5pPr>
          </a:lstStyle>
          <a:p>
            <a:pPr lvl="0" rtl="0"/>
            <a:r>
              <a:rPr lang="ru-RU" noProof="0" dirty="0"/>
              <a:t>1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id="{C59BE1D7-885A-4749-99BA-6909D64AF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62750" y="2278063"/>
            <a:ext cx="4522787" cy="885825"/>
          </a:xfrm>
        </p:spPr>
        <p:txBody>
          <a:bodyPr rtlCol="0" anchor="ctr"/>
          <a:lstStyle>
            <a:lvl1pPr marL="0" indent="0">
              <a:buNone/>
              <a:defRPr sz="8000" b="1" i="0">
                <a:latin typeface="+mj-lt"/>
              </a:defRPr>
            </a:lvl1pPr>
          </a:lstStyle>
          <a:p>
            <a:pPr lvl="0" rtl="0"/>
            <a:r>
              <a:rPr lang="ru-RU" noProof="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1764496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D6515BFE-A2D2-4E56-8EA9-BC97BCEE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E68B0-6BBE-42B0-A9B6-779C36B17C4D}" type="datetime1">
              <a:rPr lang="en-GB" smtClean="0"/>
              <a:t>23/12/2021</a:t>
            </a:fld>
            <a:endParaRPr lang="en-GB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BD9CAC1C-6371-4ACB-8F95-B78B10D05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A584F3D8-3E45-41B9-BBC6-13C75591C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CA436C94-7C77-4435-B9B0-69568A0ED01B}"/>
              </a:ext>
            </a:extLst>
          </p:cNvPr>
          <p:cNvSpPr>
            <a:spLocks noChangeAspect="1"/>
          </p:cNvSpPr>
          <p:nvPr userDrawn="1"/>
        </p:nvSpPr>
        <p:spPr>
          <a:xfrm>
            <a:off x="8728768" y="822600"/>
            <a:ext cx="2642572" cy="26424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CD32A893-52E7-4CF9-B289-964B125F7950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610200"/>
            <a:ext cx="2819884" cy="5639400"/>
          </a:xfrm>
          <a:custGeom>
            <a:avLst/>
            <a:gdLst>
              <a:gd name="connsiteX0" fmla="*/ 0 w 5639400"/>
              <a:gd name="connsiteY0" fmla="*/ 0 h 11278800"/>
              <a:gd name="connsiteX1" fmla="*/ 5639400 w 5639400"/>
              <a:gd name="connsiteY1" fmla="*/ 5639400 h 11278800"/>
              <a:gd name="connsiteX2" fmla="*/ 0 w 5639400"/>
              <a:gd name="connsiteY2" fmla="*/ 11278800 h 112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9400" h="11278800">
                <a:moveTo>
                  <a:pt x="0" y="0"/>
                </a:moveTo>
                <a:cubicBezTo>
                  <a:pt x="3114555" y="0"/>
                  <a:pt x="5639400" y="2524845"/>
                  <a:pt x="5639400" y="5639400"/>
                </a:cubicBezTo>
                <a:cubicBezTo>
                  <a:pt x="5639400" y="8753955"/>
                  <a:pt x="3114555" y="11278800"/>
                  <a:pt x="0" y="1127880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5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1E183883-4ED5-472C-903C-57F41A2481E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235544" y="2223000"/>
            <a:ext cx="1720912" cy="2412000"/>
            <a:chOff x="4796" y="1958"/>
            <a:chExt cx="1322" cy="1847"/>
          </a:xfrm>
          <a:solidFill>
            <a:schemeClr val="accent4"/>
          </a:solidFill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3A2AF018-EA2E-492B-B85B-EB15A9C20E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49" y="2059"/>
              <a:ext cx="252" cy="375"/>
            </a:xfrm>
            <a:custGeom>
              <a:avLst/>
              <a:gdLst>
                <a:gd name="T0" fmla="*/ 206 w 418"/>
                <a:gd name="T1" fmla="*/ 5 h 623"/>
                <a:gd name="T2" fmla="*/ 206 w 418"/>
                <a:gd name="T3" fmla="*/ 5 h 623"/>
                <a:gd name="T4" fmla="*/ 265 w 418"/>
                <a:gd name="T5" fmla="*/ 42 h 623"/>
                <a:gd name="T6" fmla="*/ 341 w 418"/>
                <a:gd name="T7" fmla="*/ 174 h 623"/>
                <a:gd name="T8" fmla="*/ 417 w 418"/>
                <a:gd name="T9" fmla="*/ 464 h 623"/>
                <a:gd name="T10" fmla="*/ 404 w 418"/>
                <a:gd name="T11" fmla="*/ 488 h 623"/>
                <a:gd name="T12" fmla="*/ 392 w 418"/>
                <a:gd name="T13" fmla="*/ 474 h 623"/>
                <a:gd name="T14" fmla="*/ 363 w 418"/>
                <a:gd name="T15" fmla="*/ 367 h 623"/>
                <a:gd name="T16" fmla="*/ 348 w 418"/>
                <a:gd name="T17" fmla="*/ 346 h 623"/>
                <a:gd name="T18" fmla="*/ 343 w 418"/>
                <a:gd name="T19" fmla="*/ 364 h 623"/>
                <a:gd name="T20" fmla="*/ 386 w 418"/>
                <a:gd name="T21" fmla="*/ 547 h 623"/>
                <a:gd name="T22" fmla="*/ 375 w 418"/>
                <a:gd name="T23" fmla="*/ 581 h 623"/>
                <a:gd name="T24" fmla="*/ 354 w 418"/>
                <a:gd name="T25" fmla="*/ 561 h 623"/>
                <a:gd name="T26" fmla="*/ 307 w 418"/>
                <a:gd name="T27" fmla="*/ 393 h 623"/>
                <a:gd name="T28" fmla="*/ 283 w 418"/>
                <a:gd name="T29" fmla="*/ 361 h 623"/>
                <a:gd name="T30" fmla="*/ 281 w 418"/>
                <a:gd name="T31" fmla="*/ 397 h 623"/>
                <a:gd name="T32" fmla="*/ 329 w 418"/>
                <a:gd name="T33" fmla="*/ 592 h 623"/>
                <a:gd name="T34" fmla="*/ 315 w 418"/>
                <a:gd name="T35" fmla="*/ 620 h 623"/>
                <a:gd name="T36" fmla="*/ 293 w 418"/>
                <a:gd name="T37" fmla="*/ 598 h 623"/>
                <a:gd name="T38" fmla="*/ 236 w 418"/>
                <a:gd name="T39" fmla="*/ 403 h 623"/>
                <a:gd name="T40" fmla="*/ 214 w 418"/>
                <a:gd name="T41" fmla="*/ 375 h 623"/>
                <a:gd name="T42" fmla="*/ 209 w 418"/>
                <a:gd name="T43" fmla="*/ 396 h 623"/>
                <a:gd name="T44" fmla="*/ 264 w 418"/>
                <a:gd name="T45" fmla="*/ 581 h 623"/>
                <a:gd name="T46" fmla="*/ 251 w 418"/>
                <a:gd name="T47" fmla="*/ 609 h 623"/>
                <a:gd name="T48" fmla="*/ 224 w 418"/>
                <a:gd name="T49" fmla="*/ 579 h 623"/>
                <a:gd name="T50" fmla="*/ 179 w 418"/>
                <a:gd name="T51" fmla="*/ 441 h 623"/>
                <a:gd name="T52" fmla="*/ 128 w 418"/>
                <a:gd name="T53" fmla="*/ 318 h 623"/>
                <a:gd name="T54" fmla="*/ 107 w 418"/>
                <a:gd name="T55" fmla="*/ 326 h 623"/>
                <a:gd name="T56" fmla="*/ 82 w 418"/>
                <a:gd name="T57" fmla="*/ 401 h 623"/>
                <a:gd name="T58" fmla="*/ 5 w 418"/>
                <a:gd name="T59" fmla="*/ 458 h 623"/>
                <a:gd name="T60" fmla="*/ 18 w 418"/>
                <a:gd name="T61" fmla="*/ 423 h 623"/>
                <a:gd name="T62" fmla="*/ 53 w 418"/>
                <a:gd name="T63" fmla="*/ 327 h 623"/>
                <a:gd name="T64" fmla="*/ 74 w 418"/>
                <a:gd name="T65" fmla="*/ 179 h 623"/>
                <a:gd name="T66" fmla="*/ 55 w 418"/>
                <a:gd name="T67" fmla="*/ 64 h 623"/>
                <a:gd name="T68" fmla="*/ 41 w 418"/>
                <a:gd name="T69" fmla="*/ 33 h 623"/>
                <a:gd name="T70" fmla="*/ 71 w 418"/>
                <a:gd name="T71" fmla="*/ 2 h 623"/>
                <a:gd name="T72" fmla="*/ 206 w 418"/>
                <a:gd name="T73" fmla="*/ 5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18" h="623">
                  <a:moveTo>
                    <a:pt x="206" y="5"/>
                  </a:moveTo>
                  <a:lnTo>
                    <a:pt x="206" y="5"/>
                  </a:lnTo>
                  <a:cubicBezTo>
                    <a:pt x="233" y="8"/>
                    <a:pt x="252" y="25"/>
                    <a:pt x="265" y="42"/>
                  </a:cubicBezTo>
                  <a:cubicBezTo>
                    <a:pt x="296" y="82"/>
                    <a:pt x="315" y="110"/>
                    <a:pt x="341" y="174"/>
                  </a:cubicBezTo>
                  <a:cubicBezTo>
                    <a:pt x="407" y="337"/>
                    <a:pt x="417" y="452"/>
                    <a:pt x="417" y="464"/>
                  </a:cubicBezTo>
                  <a:cubicBezTo>
                    <a:pt x="418" y="476"/>
                    <a:pt x="411" y="487"/>
                    <a:pt x="404" y="488"/>
                  </a:cubicBezTo>
                  <a:cubicBezTo>
                    <a:pt x="398" y="489"/>
                    <a:pt x="394" y="480"/>
                    <a:pt x="392" y="474"/>
                  </a:cubicBezTo>
                  <a:cubicBezTo>
                    <a:pt x="383" y="437"/>
                    <a:pt x="372" y="394"/>
                    <a:pt x="363" y="367"/>
                  </a:cubicBezTo>
                  <a:cubicBezTo>
                    <a:pt x="360" y="360"/>
                    <a:pt x="355" y="345"/>
                    <a:pt x="348" y="346"/>
                  </a:cubicBezTo>
                  <a:cubicBezTo>
                    <a:pt x="341" y="348"/>
                    <a:pt x="340" y="356"/>
                    <a:pt x="343" y="364"/>
                  </a:cubicBezTo>
                  <a:cubicBezTo>
                    <a:pt x="366" y="444"/>
                    <a:pt x="384" y="534"/>
                    <a:pt x="386" y="547"/>
                  </a:cubicBezTo>
                  <a:cubicBezTo>
                    <a:pt x="388" y="567"/>
                    <a:pt x="385" y="579"/>
                    <a:pt x="375" y="581"/>
                  </a:cubicBezTo>
                  <a:cubicBezTo>
                    <a:pt x="364" y="584"/>
                    <a:pt x="359" y="575"/>
                    <a:pt x="354" y="561"/>
                  </a:cubicBezTo>
                  <a:cubicBezTo>
                    <a:pt x="350" y="547"/>
                    <a:pt x="331" y="458"/>
                    <a:pt x="307" y="393"/>
                  </a:cubicBezTo>
                  <a:cubicBezTo>
                    <a:pt x="300" y="373"/>
                    <a:pt x="293" y="358"/>
                    <a:pt x="283" y="361"/>
                  </a:cubicBezTo>
                  <a:cubicBezTo>
                    <a:pt x="273" y="364"/>
                    <a:pt x="277" y="383"/>
                    <a:pt x="281" y="397"/>
                  </a:cubicBezTo>
                  <a:cubicBezTo>
                    <a:pt x="317" y="506"/>
                    <a:pt x="327" y="574"/>
                    <a:pt x="329" y="592"/>
                  </a:cubicBezTo>
                  <a:cubicBezTo>
                    <a:pt x="330" y="606"/>
                    <a:pt x="324" y="618"/>
                    <a:pt x="315" y="620"/>
                  </a:cubicBezTo>
                  <a:cubicBezTo>
                    <a:pt x="305" y="623"/>
                    <a:pt x="297" y="615"/>
                    <a:pt x="293" y="598"/>
                  </a:cubicBezTo>
                  <a:cubicBezTo>
                    <a:pt x="275" y="511"/>
                    <a:pt x="243" y="420"/>
                    <a:pt x="236" y="403"/>
                  </a:cubicBezTo>
                  <a:cubicBezTo>
                    <a:pt x="230" y="387"/>
                    <a:pt x="222" y="373"/>
                    <a:pt x="214" y="375"/>
                  </a:cubicBezTo>
                  <a:cubicBezTo>
                    <a:pt x="207" y="377"/>
                    <a:pt x="205" y="386"/>
                    <a:pt x="209" y="396"/>
                  </a:cubicBezTo>
                  <a:cubicBezTo>
                    <a:pt x="230" y="454"/>
                    <a:pt x="259" y="554"/>
                    <a:pt x="264" y="581"/>
                  </a:cubicBezTo>
                  <a:cubicBezTo>
                    <a:pt x="266" y="596"/>
                    <a:pt x="262" y="606"/>
                    <a:pt x="251" y="609"/>
                  </a:cubicBezTo>
                  <a:cubicBezTo>
                    <a:pt x="240" y="612"/>
                    <a:pt x="230" y="598"/>
                    <a:pt x="224" y="579"/>
                  </a:cubicBezTo>
                  <a:cubicBezTo>
                    <a:pt x="217" y="558"/>
                    <a:pt x="204" y="509"/>
                    <a:pt x="179" y="441"/>
                  </a:cubicBezTo>
                  <a:cubicBezTo>
                    <a:pt x="147" y="351"/>
                    <a:pt x="140" y="328"/>
                    <a:pt x="128" y="318"/>
                  </a:cubicBezTo>
                  <a:cubicBezTo>
                    <a:pt x="124" y="315"/>
                    <a:pt x="114" y="308"/>
                    <a:pt x="107" y="326"/>
                  </a:cubicBezTo>
                  <a:cubicBezTo>
                    <a:pt x="98" y="347"/>
                    <a:pt x="92" y="380"/>
                    <a:pt x="82" y="401"/>
                  </a:cubicBezTo>
                  <a:cubicBezTo>
                    <a:pt x="60" y="453"/>
                    <a:pt x="20" y="472"/>
                    <a:pt x="5" y="458"/>
                  </a:cubicBezTo>
                  <a:cubicBezTo>
                    <a:pt x="0" y="454"/>
                    <a:pt x="12" y="435"/>
                    <a:pt x="18" y="423"/>
                  </a:cubicBezTo>
                  <a:cubicBezTo>
                    <a:pt x="36" y="394"/>
                    <a:pt x="42" y="369"/>
                    <a:pt x="53" y="327"/>
                  </a:cubicBezTo>
                  <a:cubicBezTo>
                    <a:pt x="65" y="279"/>
                    <a:pt x="71" y="233"/>
                    <a:pt x="74" y="179"/>
                  </a:cubicBezTo>
                  <a:cubicBezTo>
                    <a:pt x="75" y="141"/>
                    <a:pt x="76" y="115"/>
                    <a:pt x="55" y="64"/>
                  </a:cubicBezTo>
                  <a:cubicBezTo>
                    <a:pt x="50" y="51"/>
                    <a:pt x="46" y="45"/>
                    <a:pt x="41" y="33"/>
                  </a:cubicBezTo>
                  <a:cubicBezTo>
                    <a:pt x="38" y="25"/>
                    <a:pt x="38" y="4"/>
                    <a:pt x="71" y="2"/>
                  </a:cubicBezTo>
                  <a:cubicBezTo>
                    <a:pt x="95" y="1"/>
                    <a:pt x="159" y="0"/>
                    <a:pt x="206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DE00065-0548-4481-9753-DC9A569F04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6" y="2336"/>
              <a:ext cx="345" cy="305"/>
            </a:xfrm>
            <a:custGeom>
              <a:avLst/>
              <a:gdLst>
                <a:gd name="T0" fmla="*/ 566 w 571"/>
                <a:gd name="T1" fmla="*/ 160 h 507"/>
                <a:gd name="T2" fmla="*/ 566 w 571"/>
                <a:gd name="T3" fmla="*/ 160 h 507"/>
                <a:gd name="T4" fmla="*/ 549 w 571"/>
                <a:gd name="T5" fmla="*/ 228 h 507"/>
                <a:gd name="T6" fmla="*/ 447 w 571"/>
                <a:gd name="T7" fmla="*/ 340 h 507"/>
                <a:gd name="T8" fmla="*/ 195 w 571"/>
                <a:gd name="T9" fmla="*/ 502 h 507"/>
                <a:gd name="T10" fmla="*/ 168 w 571"/>
                <a:gd name="T11" fmla="*/ 498 h 507"/>
                <a:gd name="T12" fmla="*/ 178 w 571"/>
                <a:gd name="T13" fmla="*/ 481 h 507"/>
                <a:gd name="T14" fmla="*/ 270 w 571"/>
                <a:gd name="T15" fmla="*/ 421 h 507"/>
                <a:gd name="T16" fmla="*/ 285 w 571"/>
                <a:gd name="T17" fmla="*/ 400 h 507"/>
                <a:gd name="T18" fmla="*/ 267 w 571"/>
                <a:gd name="T19" fmla="*/ 401 h 507"/>
                <a:gd name="T20" fmla="*/ 106 w 571"/>
                <a:gd name="T21" fmla="*/ 498 h 507"/>
                <a:gd name="T22" fmla="*/ 70 w 571"/>
                <a:gd name="T23" fmla="*/ 499 h 507"/>
                <a:gd name="T24" fmla="*/ 84 w 571"/>
                <a:gd name="T25" fmla="*/ 472 h 507"/>
                <a:gd name="T26" fmla="*/ 228 w 571"/>
                <a:gd name="T27" fmla="*/ 376 h 507"/>
                <a:gd name="T28" fmla="*/ 251 w 571"/>
                <a:gd name="T29" fmla="*/ 343 h 507"/>
                <a:gd name="T30" fmla="*/ 217 w 571"/>
                <a:gd name="T31" fmla="*/ 352 h 507"/>
                <a:gd name="T32" fmla="*/ 46 w 571"/>
                <a:gd name="T33" fmla="*/ 457 h 507"/>
                <a:gd name="T34" fmla="*/ 15 w 571"/>
                <a:gd name="T35" fmla="*/ 454 h 507"/>
                <a:gd name="T36" fmla="*/ 29 w 571"/>
                <a:gd name="T37" fmla="*/ 426 h 507"/>
                <a:gd name="T38" fmla="*/ 197 w 571"/>
                <a:gd name="T39" fmla="*/ 312 h 507"/>
                <a:gd name="T40" fmla="*/ 217 w 571"/>
                <a:gd name="T41" fmla="*/ 282 h 507"/>
                <a:gd name="T42" fmla="*/ 195 w 571"/>
                <a:gd name="T43" fmla="*/ 283 h 507"/>
                <a:gd name="T44" fmla="*/ 36 w 571"/>
                <a:gd name="T45" fmla="*/ 392 h 507"/>
                <a:gd name="T46" fmla="*/ 6 w 571"/>
                <a:gd name="T47" fmla="*/ 389 h 507"/>
                <a:gd name="T48" fmla="*/ 26 w 571"/>
                <a:gd name="T49" fmla="*/ 354 h 507"/>
                <a:gd name="T50" fmla="*/ 143 w 571"/>
                <a:gd name="T51" fmla="*/ 269 h 507"/>
                <a:gd name="T52" fmla="*/ 244 w 571"/>
                <a:gd name="T53" fmla="*/ 182 h 507"/>
                <a:gd name="T54" fmla="*/ 230 w 571"/>
                <a:gd name="T55" fmla="*/ 164 h 507"/>
                <a:gd name="T56" fmla="*/ 151 w 571"/>
                <a:gd name="T57" fmla="*/ 164 h 507"/>
                <a:gd name="T58" fmla="*/ 73 w 571"/>
                <a:gd name="T59" fmla="*/ 108 h 507"/>
                <a:gd name="T60" fmla="*/ 110 w 571"/>
                <a:gd name="T61" fmla="*/ 111 h 507"/>
                <a:gd name="T62" fmla="*/ 212 w 571"/>
                <a:gd name="T63" fmla="*/ 114 h 507"/>
                <a:gd name="T64" fmla="*/ 360 w 571"/>
                <a:gd name="T65" fmla="*/ 87 h 507"/>
                <a:gd name="T66" fmla="*/ 464 w 571"/>
                <a:gd name="T67" fmla="*/ 34 h 507"/>
                <a:gd name="T68" fmla="*/ 488 w 571"/>
                <a:gd name="T69" fmla="*/ 12 h 507"/>
                <a:gd name="T70" fmla="*/ 527 w 571"/>
                <a:gd name="T71" fmla="*/ 30 h 507"/>
                <a:gd name="T72" fmla="*/ 566 w 571"/>
                <a:gd name="T73" fmla="*/ 16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1" h="507">
                  <a:moveTo>
                    <a:pt x="566" y="160"/>
                  </a:moveTo>
                  <a:lnTo>
                    <a:pt x="566" y="160"/>
                  </a:lnTo>
                  <a:cubicBezTo>
                    <a:pt x="571" y="186"/>
                    <a:pt x="561" y="210"/>
                    <a:pt x="549" y="228"/>
                  </a:cubicBezTo>
                  <a:cubicBezTo>
                    <a:pt x="521" y="269"/>
                    <a:pt x="500" y="296"/>
                    <a:pt x="447" y="340"/>
                  </a:cubicBezTo>
                  <a:cubicBezTo>
                    <a:pt x="312" y="453"/>
                    <a:pt x="207" y="498"/>
                    <a:pt x="195" y="502"/>
                  </a:cubicBezTo>
                  <a:cubicBezTo>
                    <a:pt x="184" y="506"/>
                    <a:pt x="171" y="503"/>
                    <a:pt x="168" y="498"/>
                  </a:cubicBezTo>
                  <a:cubicBezTo>
                    <a:pt x="165" y="492"/>
                    <a:pt x="173" y="485"/>
                    <a:pt x="178" y="481"/>
                  </a:cubicBezTo>
                  <a:cubicBezTo>
                    <a:pt x="210" y="462"/>
                    <a:pt x="247" y="438"/>
                    <a:pt x="270" y="421"/>
                  </a:cubicBezTo>
                  <a:cubicBezTo>
                    <a:pt x="277" y="416"/>
                    <a:pt x="289" y="406"/>
                    <a:pt x="285" y="400"/>
                  </a:cubicBezTo>
                  <a:cubicBezTo>
                    <a:pt x="282" y="394"/>
                    <a:pt x="274" y="395"/>
                    <a:pt x="267" y="401"/>
                  </a:cubicBezTo>
                  <a:cubicBezTo>
                    <a:pt x="198" y="448"/>
                    <a:pt x="118" y="492"/>
                    <a:pt x="106" y="498"/>
                  </a:cubicBezTo>
                  <a:cubicBezTo>
                    <a:pt x="88" y="507"/>
                    <a:pt x="75" y="507"/>
                    <a:pt x="70" y="499"/>
                  </a:cubicBezTo>
                  <a:cubicBezTo>
                    <a:pt x="64" y="489"/>
                    <a:pt x="72" y="481"/>
                    <a:pt x="84" y="472"/>
                  </a:cubicBezTo>
                  <a:cubicBezTo>
                    <a:pt x="95" y="464"/>
                    <a:pt x="173" y="419"/>
                    <a:pt x="228" y="376"/>
                  </a:cubicBezTo>
                  <a:cubicBezTo>
                    <a:pt x="245" y="363"/>
                    <a:pt x="257" y="351"/>
                    <a:pt x="251" y="343"/>
                  </a:cubicBezTo>
                  <a:cubicBezTo>
                    <a:pt x="246" y="334"/>
                    <a:pt x="229" y="343"/>
                    <a:pt x="217" y="352"/>
                  </a:cubicBezTo>
                  <a:cubicBezTo>
                    <a:pt x="124" y="420"/>
                    <a:pt x="63" y="450"/>
                    <a:pt x="46" y="457"/>
                  </a:cubicBezTo>
                  <a:cubicBezTo>
                    <a:pt x="33" y="463"/>
                    <a:pt x="20" y="461"/>
                    <a:pt x="15" y="454"/>
                  </a:cubicBezTo>
                  <a:cubicBezTo>
                    <a:pt x="9" y="445"/>
                    <a:pt x="14" y="435"/>
                    <a:pt x="29" y="426"/>
                  </a:cubicBezTo>
                  <a:cubicBezTo>
                    <a:pt x="107" y="381"/>
                    <a:pt x="183" y="323"/>
                    <a:pt x="197" y="312"/>
                  </a:cubicBezTo>
                  <a:cubicBezTo>
                    <a:pt x="210" y="300"/>
                    <a:pt x="221" y="288"/>
                    <a:pt x="217" y="282"/>
                  </a:cubicBezTo>
                  <a:cubicBezTo>
                    <a:pt x="212" y="276"/>
                    <a:pt x="204" y="277"/>
                    <a:pt x="195" y="283"/>
                  </a:cubicBezTo>
                  <a:cubicBezTo>
                    <a:pt x="147" y="322"/>
                    <a:pt x="60" y="380"/>
                    <a:pt x="36" y="392"/>
                  </a:cubicBezTo>
                  <a:cubicBezTo>
                    <a:pt x="23" y="400"/>
                    <a:pt x="12" y="399"/>
                    <a:pt x="6" y="389"/>
                  </a:cubicBezTo>
                  <a:cubicBezTo>
                    <a:pt x="0" y="380"/>
                    <a:pt x="9" y="366"/>
                    <a:pt x="26" y="354"/>
                  </a:cubicBezTo>
                  <a:cubicBezTo>
                    <a:pt x="44" y="341"/>
                    <a:pt x="86" y="314"/>
                    <a:pt x="143" y="269"/>
                  </a:cubicBezTo>
                  <a:cubicBezTo>
                    <a:pt x="219" y="211"/>
                    <a:pt x="238" y="197"/>
                    <a:pt x="244" y="182"/>
                  </a:cubicBezTo>
                  <a:cubicBezTo>
                    <a:pt x="246" y="177"/>
                    <a:pt x="250" y="166"/>
                    <a:pt x="230" y="164"/>
                  </a:cubicBezTo>
                  <a:cubicBezTo>
                    <a:pt x="208" y="162"/>
                    <a:pt x="174" y="167"/>
                    <a:pt x="151" y="164"/>
                  </a:cubicBezTo>
                  <a:cubicBezTo>
                    <a:pt x="95" y="159"/>
                    <a:pt x="64" y="127"/>
                    <a:pt x="73" y="108"/>
                  </a:cubicBezTo>
                  <a:cubicBezTo>
                    <a:pt x="75" y="102"/>
                    <a:pt x="97" y="108"/>
                    <a:pt x="110" y="111"/>
                  </a:cubicBezTo>
                  <a:cubicBezTo>
                    <a:pt x="144" y="118"/>
                    <a:pt x="169" y="117"/>
                    <a:pt x="212" y="114"/>
                  </a:cubicBezTo>
                  <a:cubicBezTo>
                    <a:pt x="262" y="110"/>
                    <a:pt x="308" y="102"/>
                    <a:pt x="360" y="87"/>
                  </a:cubicBezTo>
                  <a:cubicBezTo>
                    <a:pt x="396" y="77"/>
                    <a:pt x="421" y="70"/>
                    <a:pt x="464" y="34"/>
                  </a:cubicBezTo>
                  <a:cubicBezTo>
                    <a:pt x="474" y="25"/>
                    <a:pt x="479" y="20"/>
                    <a:pt x="488" y="12"/>
                  </a:cubicBezTo>
                  <a:cubicBezTo>
                    <a:pt x="495" y="6"/>
                    <a:pt x="515" y="0"/>
                    <a:pt x="527" y="30"/>
                  </a:cubicBezTo>
                  <a:cubicBezTo>
                    <a:pt x="536" y="53"/>
                    <a:pt x="557" y="113"/>
                    <a:pt x="566" y="1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573072BA-8D1F-46EF-BE7D-94A6D3172C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472" y="2647"/>
              <a:ext cx="373" cy="301"/>
            </a:xfrm>
            <a:custGeom>
              <a:avLst/>
              <a:gdLst>
                <a:gd name="T0" fmla="*/ 482 w 618"/>
                <a:gd name="T1" fmla="*/ 487 h 501"/>
                <a:gd name="T2" fmla="*/ 482 w 618"/>
                <a:gd name="T3" fmla="*/ 487 h 501"/>
                <a:gd name="T4" fmla="*/ 412 w 618"/>
                <a:gd name="T5" fmla="*/ 492 h 501"/>
                <a:gd name="T6" fmla="*/ 273 w 618"/>
                <a:gd name="T7" fmla="*/ 430 h 501"/>
                <a:gd name="T8" fmla="*/ 41 w 618"/>
                <a:gd name="T9" fmla="*/ 240 h 501"/>
                <a:gd name="T10" fmla="*/ 37 w 618"/>
                <a:gd name="T11" fmla="*/ 213 h 501"/>
                <a:gd name="T12" fmla="*/ 56 w 618"/>
                <a:gd name="T13" fmla="*/ 217 h 501"/>
                <a:gd name="T14" fmla="*/ 142 w 618"/>
                <a:gd name="T15" fmla="*/ 286 h 501"/>
                <a:gd name="T16" fmla="*/ 167 w 618"/>
                <a:gd name="T17" fmla="*/ 295 h 501"/>
                <a:gd name="T18" fmla="*/ 160 w 618"/>
                <a:gd name="T19" fmla="*/ 277 h 501"/>
                <a:gd name="T20" fmla="*/ 18 w 618"/>
                <a:gd name="T21" fmla="*/ 154 h 501"/>
                <a:gd name="T22" fmla="*/ 6 w 618"/>
                <a:gd name="T23" fmla="*/ 121 h 501"/>
                <a:gd name="T24" fmla="*/ 35 w 618"/>
                <a:gd name="T25" fmla="*/ 125 h 501"/>
                <a:gd name="T26" fmla="*/ 172 w 618"/>
                <a:gd name="T27" fmla="*/ 233 h 501"/>
                <a:gd name="T28" fmla="*/ 210 w 618"/>
                <a:gd name="T29" fmla="*/ 245 h 501"/>
                <a:gd name="T30" fmla="*/ 191 w 618"/>
                <a:gd name="T31" fmla="*/ 215 h 501"/>
                <a:gd name="T32" fmla="*/ 38 w 618"/>
                <a:gd name="T33" fmla="*/ 85 h 501"/>
                <a:gd name="T34" fmla="*/ 32 w 618"/>
                <a:gd name="T35" fmla="*/ 54 h 501"/>
                <a:gd name="T36" fmla="*/ 63 w 618"/>
                <a:gd name="T37" fmla="*/ 59 h 501"/>
                <a:gd name="T38" fmla="*/ 223 w 618"/>
                <a:gd name="T39" fmla="*/ 183 h 501"/>
                <a:gd name="T40" fmla="*/ 257 w 618"/>
                <a:gd name="T41" fmla="*/ 193 h 501"/>
                <a:gd name="T42" fmla="*/ 250 w 618"/>
                <a:gd name="T43" fmla="*/ 173 h 501"/>
                <a:gd name="T44" fmla="*/ 97 w 618"/>
                <a:gd name="T45" fmla="*/ 55 h 501"/>
                <a:gd name="T46" fmla="*/ 90 w 618"/>
                <a:gd name="T47" fmla="*/ 26 h 501"/>
                <a:gd name="T48" fmla="*/ 130 w 618"/>
                <a:gd name="T49" fmla="*/ 33 h 501"/>
                <a:gd name="T50" fmla="*/ 247 w 618"/>
                <a:gd name="T51" fmla="*/ 119 h 501"/>
                <a:gd name="T52" fmla="*/ 361 w 618"/>
                <a:gd name="T53" fmla="*/ 188 h 501"/>
                <a:gd name="T54" fmla="*/ 374 w 618"/>
                <a:gd name="T55" fmla="*/ 169 h 501"/>
                <a:gd name="T56" fmla="*/ 349 w 618"/>
                <a:gd name="T57" fmla="*/ 94 h 501"/>
                <a:gd name="T58" fmla="*/ 378 w 618"/>
                <a:gd name="T59" fmla="*/ 2 h 501"/>
                <a:gd name="T60" fmla="*/ 388 w 618"/>
                <a:gd name="T61" fmla="*/ 39 h 501"/>
                <a:gd name="T62" fmla="*/ 416 w 618"/>
                <a:gd name="T63" fmla="*/ 137 h 501"/>
                <a:gd name="T64" fmla="*/ 487 w 618"/>
                <a:gd name="T65" fmla="*/ 269 h 501"/>
                <a:gd name="T66" fmla="*/ 570 w 618"/>
                <a:gd name="T67" fmla="*/ 351 h 501"/>
                <a:gd name="T68" fmla="*/ 599 w 618"/>
                <a:gd name="T69" fmla="*/ 368 h 501"/>
                <a:gd name="T70" fmla="*/ 593 w 618"/>
                <a:gd name="T71" fmla="*/ 410 h 501"/>
                <a:gd name="T72" fmla="*/ 482 w 618"/>
                <a:gd name="T73" fmla="*/ 48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18" h="501">
                  <a:moveTo>
                    <a:pt x="482" y="487"/>
                  </a:moveTo>
                  <a:lnTo>
                    <a:pt x="482" y="487"/>
                  </a:lnTo>
                  <a:cubicBezTo>
                    <a:pt x="458" y="501"/>
                    <a:pt x="432" y="498"/>
                    <a:pt x="412" y="492"/>
                  </a:cubicBezTo>
                  <a:cubicBezTo>
                    <a:pt x="364" y="478"/>
                    <a:pt x="332" y="467"/>
                    <a:pt x="273" y="430"/>
                  </a:cubicBezTo>
                  <a:cubicBezTo>
                    <a:pt x="124" y="337"/>
                    <a:pt x="49" y="250"/>
                    <a:pt x="41" y="240"/>
                  </a:cubicBezTo>
                  <a:cubicBezTo>
                    <a:pt x="34" y="231"/>
                    <a:pt x="33" y="217"/>
                    <a:pt x="37" y="213"/>
                  </a:cubicBezTo>
                  <a:cubicBezTo>
                    <a:pt x="42" y="209"/>
                    <a:pt x="51" y="214"/>
                    <a:pt x="56" y="217"/>
                  </a:cubicBezTo>
                  <a:cubicBezTo>
                    <a:pt x="84" y="242"/>
                    <a:pt x="119" y="270"/>
                    <a:pt x="142" y="286"/>
                  </a:cubicBezTo>
                  <a:cubicBezTo>
                    <a:pt x="149" y="291"/>
                    <a:pt x="162" y="300"/>
                    <a:pt x="167" y="295"/>
                  </a:cubicBezTo>
                  <a:cubicBezTo>
                    <a:pt x="172" y="289"/>
                    <a:pt x="168" y="282"/>
                    <a:pt x="160" y="277"/>
                  </a:cubicBezTo>
                  <a:cubicBezTo>
                    <a:pt x="94" y="227"/>
                    <a:pt x="27" y="164"/>
                    <a:pt x="18" y="154"/>
                  </a:cubicBezTo>
                  <a:cubicBezTo>
                    <a:pt x="4" y="140"/>
                    <a:pt x="0" y="128"/>
                    <a:pt x="6" y="121"/>
                  </a:cubicBezTo>
                  <a:cubicBezTo>
                    <a:pt x="14" y="112"/>
                    <a:pt x="24" y="116"/>
                    <a:pt x="35" y="125"/>
                  </a:cubicBezTo>
                  <a:cubicBezTo>
                    <a:pt x="47" y="134"/>
                    <a:pt x="114" y="194"/>
                    <a:pt x="172" y="233"/>
                  </a:cubicBezTo>
                  <a:cubicBezTo>
                    <a:pt x="189" y="245"/>
                    <a:pt x="204" y="253"/>
                    <a:pt x="210" y="245"/>
                  </a:cubicBezTo>
                  <a:cubicBezTo>
                    <a:pt x="217" y="237"/>
                    <a:pt x="203" y="223"/>
                    <a:pt x="191" y="215"/>
                  </a:cubicBezTo>
                  <a:cubicBezTo>
                    <a:pt x="98" y="148"/>
                    <a:pt x="50" y="98"/>
                    <a:pt x="38" y="85"/>
                  </a:cubicBezTo>
                  <a:cubicBezTo>
                    <a:pt x="29" y="74"/>
                    <a:pt x="26" y="61"/>
                    <a:pt x="32" y="54"/>
                  </a:cubicBezTo>
                  <a:cubicBezTo>
                    <a:pt x="39" y="45"/>
                    <a:pt x="50" y="47"/>
                    <a:pt x="63" y="59"/>
                  </a:cubicBezTo>
                  <a:cubicBezTo>
                    <a:pt x="129" y="119"/>
                    <a:pt x="208" y="174"/>
                    <a:pt x="223" y="183"/>
                  </a:cubicBezTo>
                  <a:cubicBezTo>
                    <a:pt x="238" y="192"/>
                    <a:pt x="253" y="199"/>
                    <a:pt x="257" y="193"/>
                  </a:cubicBezTo>
                  <a:cubicBezTo>
                    <a:pt x="262" y="187"/>
                    <a:pt x="259" y="179"/>
                    <a:pt x="250" y="173"/>
                  </a:cubicBezTo>
                  <a:cubicBezTo>
                    <a:pt x="198" y="139"/>
                    <a:pt x="116" y="74"/>
                    <a:pt x="97" y="55"/>
                  </a:cubicBezTo>
                  <a:cubicBezTo>
                    <a:pt x="86" y="45"/>
                    <a:pt x="83" y="34"/>
                    <a:pt x="90" y="26"/>
                  </a:cubicBezTo>
                  <a:cubicBezTo>
                    <a:pt x="98" y="17"/>
                    <a:pt x="114" y="21"/>
                    <a:pt x="130" y="33"/>
                  </a:cubicBezTo>
                  <a:cubicBezTo>
                    <a:pt x="148" y="47"/>
                    <a:pt x="187" y="78"/>
                    <a:pt x="247" y="119"/>
                  </a:cubicBezTo>
                  <a:cubicBezTo>
                    <a:pt x="326" y="173"/>
                    <a:pt x="345" y="187"/>
                    <a:pt x="361" y="188"/>
                  </a:cubicBezTo>
                  <a:cubicBezTo>
                    <a:pt x="367" y="189"/>
                    <a:pt x="378" y="189"/>
                    <a:pt x="374" y="169"/>
                  </a:cubicBezTo>
                  <a:cubicBezTo>
                    <a:pt x="369" y="147"/>
                    <a:pt x="354" y="117"/>
                    <a:pt x="349" y="94"/>
                  </a:cubicBezTo>
                  <a:cubicBezTo>
                    <a:pt x="337" y="39"/>
                    <a:pt x="358" y="0"/>
                    <a:pt x="378" y="2"/>
                  </a:cubicBezTo>
                  <a:cubicBezTo>
                    <a:pt x="385" y="3"/>
                    <a:pt x="386" y="25"/>
                    <a:pt x="388" y="39"/>
                  </a:cubicBezTo>
                  <a:cubicBezTo>
                    <a:pt x="391" y="73"/>
                    <a:pt x="400" y="96"/>
                    <a:pt x="416" y="137"/>
                  </a:cubicBezTo>
                  <a:cubicBezTo>
                    <a:pt x="435" y="183"/>
                    <a:pt x="457" y="224"/>
                    <a:pt x="487" y="269"/>
                  </a:cubicBezTo>
                  <a:cubicBezTo>
                    <a:pt x="508" y="300"/>
                    <a:pt x="522" y="322"/>
                    <a:pt x="570" y="351"/>
                  </a:cubicBezTo>
                  <a:cubicBezTo>
                    <a:pt x="581" y="358"/>
                    <a:pt x="588" y="361"/>
                    <a:pt x="599" y="368"/>
                  </a:cubicBezTo>
                  <a:cubicBezTo>
                    <a:pt x="607" y="373"/>
                    <a:pt x="618" y="390"/>
                    <a:pt x="593" y="410"/>
                  </a:cubicBezTo>
                  <a:cubicBezTo>
                    <a:pt x="574" y="426"/>
                    <a:pt x="523" y="464"/>
                    <a:pt x="482" y="487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64523029-1BC0-4B11-A00F-BECDBF47C1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6" y="2336"/>
              <a:ext cx="345" cy="305"/>
            </a:xfrm>
            <a:custGeom>
              <a:avLst/>
              <a:gdLst>
                <a:gd name="T0" fmla="*/ 566 w 572"/>
                <a:gd name="T1" fmla="*/ 161 h 508"/>
                <a:gd name="T2" fmla="*/ 566 w 572"/>
                <a:gd name="T3" fmla="*/ 161 h 508"/>
                <a:gd name="T4" fmla="*/ 550 w 572"/>
                <a:gd name="T5" fmla="*/ 228 h 508"/>
                <a:gd name="T6" fmla="*/ 448 w 572"/>
                <a:gd name="T7" fmla="*/ 341 h 508"/>
                <a:gd name="T8" fmla="*/ 195 w 572"/>
                <a:gd name="T9" fmla="*/ 503 h 508"/>
                <a:gd name="T10" fmla="*/ 168 w 572"/>
                <a:gd name="T11" fmla="*/ 498 h 508"/>
                <a:gd name="T12" fmla="*/ 178 w 572"/>
                <a:gd name="T13" fmla="*/ 482 h 508"/>
                <a:gd name="T14" fmla="*/ 270 w 572"/>
                <a:gd name="T15" fmla="*/ 422 h 508"/>
                <a:gd name="T16" fmla="*/ 286 w 572"/>
                <a:gd name="T17" fmla="*/ 400 h 508"/>
                <a:gd name="T18" fmla="*/ 267 w 572"/>
                <a:gd name="T19" fmla="*/ 401 h 508"/>
                <a:gd name="T20" fmla="*/ 106 w 572"/>
                <a:gd name="T21" fmla="*/ 499 h 508"/>
                <a:gd name="T22" fmla="*/ 71 w 572"/>
                <a:gd name="T23" fmla="*/ 499 h 508"/>
                <a:gd name="T24" fmla="*/ 84 w 572"/>
                <a:gd name="T25" fmla="*/ 473 h 508"/>
                <a:gd name="T26" fmla="*/ 229 w 572"/>
                <a:gd name="T27" fmla="*/ 376 h 508"/>
                <a:gd name="T28" fmla="*/ 252 w 572"/>
                <a:gd name="T29" fmla="*/ 344 h 508"/>
                <a:gd name="T30" fmla="*/ 217 w 572"/>
                <a:gd name="T31" fmla="*/ 353 h 508"/>
                <a:gd name="T32" fmla="*/ 47 w 572"/>
                <a:gd name="T33" fmla="*/ 458 h 508"/>
                <a:gd name="T34" fmla="*/ 15 w 572"/>
                <a:gd name="T35" fmla="*/ 454 h 508"/>
                <a:gd name="T36" fmla="*/ 30 w 572"/>
                <a:gd name="T37" fmla="*/ 427 h 508"/>
                <a:gd name="T38" fmla="*/ 197 w 572"/>
                <a:gd name="T39" fmla="*/ 312 h 508"/>
                <a:gd name="T40" fmla="*/ 217 w 572"/>
                <a:gd name="T41" fmla="*/ 283 h 508"/>
                <a:gd name="T42" fmla="*/ 196 w 572"/>
                <a:gd name="T43" fmla="*/ 284 h 508"/>
                <a:gd name="T44" fmla="*/ 37 w 572"/>
                <a:gd name="T45" fmla="*/ 393 h 508"/>
                <a:gd name="T46" fmla="*/ 6 w 572"/>
                <a:gd name="T47" fmla="*/ 390 h 508"/>
                <a:gd name="T48" fmla="*/ 26 w 572"/>
                <a:gd name="T49" fmla="*/ 355 h 508"/>
                <a:gd name="T50" fmla="*/ 144 w 572"/>
                <a:gd name="T51" fmla="*/ 270 h 508"/>
                <a:gd name="T52" fmla="*/ 244 w 572"/>
                <a:gd name="T53" fmla="*/ 183 h 508"/>
                <a:gd name="T54" fmla="*/ 231 w 572"/>
                <a:gd name="T55" fmla="*/ 165 h 508"/>
                <a:gd name="T56" fmla="*/ 151 w 572"/>
                <a:gd name="T57" fmla="*/ 165 h 508"/>
                <a:gd name="T58" fmla="*/ 73 w 572"/>
                <a:gd name="T59" fmla="*/ 109 h 508"/>
                <a:gd name="T60" fmla="*/ 111 w 572"/>
                <a:gd name="T61" fmla="*/ 111 h 508"/>
                <a:gd name="T62" fmla="*/ 213 w 572"/>
                <a:gd name="T63" fmla="*/ 114 h 508"/>
                <a:gd name="T64" fmla="*/ 360 w 572"/>
                <a:gd name="T65" fmla="*/ 88 h 508"/>
                <a:gd name="T66" fmla="*/ 464 w 572"/>
                <a:gd name="T67" fmla="*/ 35 h 508"/>
                <a:gd name="T68" fmla="*/ 489 w 572"/>
                <a:gd name="T69" fmla="*/ 12 h 508"/>
                <a:gd name="T70" fmla="*/ 528 w 572"/>
                <a:gd name="T71" fmla="*/ 31 h 508"/>
                <a:gd name="T72" fmla="*/ 566 w 572"/>
                <a:gd name="T73" fmla="*/ 161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2" h="508">
                  <a:moveTo>
                    <a:pt x="566" y="161"/>
                  </a:moveTo>
                  <a:lnTo>
                    <a:pt x="566" y="161"/>
                  </a:lnTo>
                  <a:cubicBezTo>
                    <a:pt x="572" y="187"/>
                    <a:pt x="562" y="211"/>
                    <a:pt x="550" y="228"/>
                  </a:cubicBezTo>
                  <a:cubicBezTo>
                    <a:pt x="521" y="269"/>
                    <a:pt x="501" y="297"/>
                    <a:pt x="448" y="341"/>
                  </a:cubicBezTo>
                  <a:cubicBezTo>
                    <a:pt x="313" y="454"/>
                    <a:pt x="207" y="499"/>
                    <a:pt x="195" y="503"/>
                  </a:cubicBezTo>
                  <a:cubicBezTo>
                    <a:pt x="184" y="507"/>
                    <a:pt x="171" y="504"/>
                    <a:pt x="168" y="498"/>
                  </a:cubicBezTo>
                  <a:cubicBezTo>
                    <a:pt x="165" y="493"/>
                    <a:pt x="173" y="486"/>
                    <a:pt x="178" y="482"/>
                  </a:cubicBezTo>
                  <a:cubicBezTo>
                    <a:pt x="211" y="463"/>
                    <a:pt x="248" y="439"/>
                    <a:pt x="270" y="422"/>
                  </a:cubicBezTo>
                  <a:cubicBezTo>
                    <a:pt x="277" y="417"/>
                    <a:pt x="289" y="407"/>
                    <a:pt x="286" y="400"/>
                  </a:cubicBezTo>
                  <a:cubicBezTo>
                    <a:pt x="282" y="394"/>
                    <a:pt x="274" y="396"/>
                    <a:pt x="267" y="401"/>
                  </a:cubicBezTo>
                  <a:cubicBezTo>
                    <a:pt x="199" y="448"/>
                    <a:pt x="119" y="493"/>
                    <a:pt x="106" y="499"/>
                  </a:cubicBezTo>
                  <a:cubicBezTo>
                    <a:pt x="89" y="507"/>
                    <a:pt x="76" y="508"/>
                    <a:pt x="71" y="499"/>
                  </a:cubicBezTo>
                  <a:cubicBezTo>
                    <a:pt x="65" y="490"/>
                    <a:pt x="72" y="482"/>
                    <a:pt x="84" y="473"/>
                  </a:cubicBezTo>
                  <a:cubicBezTo>
                    <a:pt x="96" y="465"/>
                    <a:pt x="174" y="419"/>
                    <a:pt x="229" y="376"/>
                  </a:cubicBezTo>
                  <a:cubicBezTo>
                    <a:pt x="245" y="363"/>
                    <a:pt x="257" y="352"/>
                    <a:pt x="252" y="344"/>
                  </a:cubicBezTo>
                  <a:cubicBezTo>
                    <a:pt x="246" y="335"/>
                    <a:pt x="229" y="344"/>
                    <a:pt x="217" y="353"/>
                  </a:cubicBezTo>
                  <a:cubicBezTo>
                    <a:pt x="125" y="421"/>
                    <a:pt x="63" y="451"/>
                    <a:pt x="47" y="458"/>
                  </a:cubicBezTo>
                  <a:cubicBezTo>
                    <a:pt x="33" y="464"/>
                    <a:pt x="20" y="462"/>
                    <a:pt x="15" y="454"/>
                  </a:cubicBezTo>
                  <a:cubicBezTo>
                    <a:pt x="9" y="445"/>
                    <a:pt x="15" y="435"/>
                    <a:pt x="30" y="427"/>
                  </a:cubicBezTo>
                  <a:cubicBezTo>
                    <a:pt x="107" y="382"/>
                    <a:pt x="183" y="324"/>
                    <a:pt x="197" y="312"/>
                  </a:cubicBezTo>
                  <a:cubicBezTo>
                    <a:pt x="211" y="301"/>
                    <a:pt x="221" y="289"/>
                    <a:pt x="217" y="283"/>
                  </a:cubicBezTo>
                  <a:cubicBezTo>
                    <a:pt x="213" y="276"/>
                    <a:pt x="204" y="277"/>
                    <a:pt x="196" y="284"/>
                  </a:cubicBezTo>
                  <a:cubicBezTo>
                    <a:pt x="147" y="322"/>
                    <a:pt x="60" y="380"/>
                    <a:pt x="37" y="393"/>
                  </a:cubicBezTo>
                  <a:cubicBezTo>
                    <a:pt x="23" y="400"/>
                    <a:pt x="12" y="400"/>
                    <a:pt x="6" y="390"/>
                  </a:cubicBezTo>
                  <a:cubicBezTo>
                    <a:pt x="0" y="381"/>
                    <a:pt x="10" y="366"/>
                    <a:pt x="26" y="355"/>
                  </a:cubicBezTo>
                  <a:cubicBezTo>
                    <a:pt x="44" y="342"/>
                    <a:pt x="86" y="314"/>
                    <a:pt x="144" y="270"/>
                  </a:cubicBezTo>
                  <a:cubicBezTo>
                    <a:pt x="219" y="211"/>
                    <a:pt x="238" y="197"/>
                    <a:pt x="244" y="183"/>
                  </a:cubicBezTo>
                  <a:cubicBezTo>
                    <a:pt x="247" y="178"/>
                    <a:pt x="250" y="167"/>
                    <a:pt x="231" y="165"/>
                  </a:cubicBezTo>
                  <a:cubicBezTo>
                    <a:pt x="208" y="163"/>
                    <a:pt x="174" y="167"/>
                    <a:pt x="151" y="165"/>
                  </a:cubicBezTo>
                  <a:cubicBezTo>
                    <a:pt x="95" y="160"/>
                    <a:pt x="65" y="127"/>
                    <a:pt x="73" y="109"/>
                  </a:cubicBezTo>
                  <a:cubicBezTo>
                    <a:pt x="76" y="103"/>
                    <a:pt x="97" y="108"/>
                    <a:pt x="111" y="111"/>
                  </a:cubicBezTo>
                  <a:cubicBezTo>
                    <a:pt x="144" y="118"/>
                    <a:pt x="169" y="117"/>
                    <a:pt x="213" y="114"/>
                  </a:cubicBezTo>
                  <a:cubicBezTo>
                    <a:pt x="262" y="111"/>
                    <a:pt x="308" y="103"/>
                    <a:pt x="360" y="88"/>
                  </a:cubicBezTo>
                  <a:cubicBezTo>
                    <a:pt x="397" y="78"/>
                    <a:pt x="421" y="71"/>
                    <a:pt x="464" y="35"/>
                  </a:cubicBezTo>
                  <a:cubicBezTo>
                    <a:pt x="474" y="26"/>
                    <a:pt x="479" y="21"/>
                    <a:pt x="489" y="12"/>
                  </a:cubicBezTo>
                  <a:cubicBezTo>
                    <a:pt x="496" y="6"/>
                    <a:pt x="516" y="0"/>
                    <a:pt x="528" y="31"/>
                  </a:cubicBezTo>
                  <a:cubicBezTo>
                    <a:pt x="537" y="54"/>
                    <a:pt x="557" y="114"/>
                    <a:pt x="566" y="161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0BD24316-85A3-46BC-B755-FC60495F03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93" y="2540"/>
              <a:ext cx="276" cy="403"/>
            </a:xfrm>
            <a:custGeom>
              <a:avLst/>
              <a:gdLst>
                <a:gd name="T0" fmla="*/ 27 w 458"/>
                <a:gd name="T1" fmla="*/ 570 h 670"/>
                <a:gd name="T2" fmla="*/ 27 w 458"/>
                <a:gd name="T3" fmla="*/ 570 h 670"/>
                <a:gd name="T4" fmla="*/ 1 w 458"/>
                <a:gd name="T5" fmla="*/ 505 h 670"/>
                <a:gd name="T6" fmla="*/ 17 w 458"/>
                <a:gd name="T7" fmla="*/ 354 h 670"/>
                <a:gd name="T8" fmla="*/ 126 w 458"/>
                <a:gd name="T9" fmla="*/ 75 h 670"/>
                <a:gd name="T10" fmla="*/ 151 w 458"/>
                <a:gd name="T11" fmla="*/ 63 h 670"/>
                <a:gd name="T12" fmla="*/ 153 w 458"/>
                <a:gd name="T13" fmla="*/ 81 h 670"/>
                <a:gd name="T14" fmla="*/ 113 w 458"/>
                <a:gd name="T15" fmla="*/ 185 h 670"/>
                <a:gd name="T16" fmla="*/ 113 w 458"/>
                <a:gd name="T17" fmla="*/ 211 h 670"/>
                <a:gd name="T18" fmla="*/ 128 w 458"/>
                <a:gd name="T19" fmla="*/ 199 h 670"/>
                <a:gd name="T20" fmla="*/ 201 w 458"/>
                <a:gd name="T21" fmla="*/ 26 h 670"/>
                <a:gd name="T22" fmla="*/ 229 w 458"/>
                <a:gd name="T23" fmla="*/ 4 h 670"/>
                <a:gd name="T24" fmla="*/ 234 w 458"/>
                <a:gd name="T25" fmla="*/ 34 h 670"/>
                <a:gd name="T26" fmla="*/ 174 w 458"/>
                <a:gd name="T27" fmla="*/ 197 h 670"/>
                <a:gd name="T28" fmla="*/ 174 w 458"/>
                <a:gd name="T29" fmla="*/ 237 h 670"/>
                <a:gd name="T30" fmla="*/ 197 w 458"/>
                <a:gd name="T31" fmla="*/ 209 h 670"/>
                <a:gd name="T32" fmla="*/ 273 w 458"/>
                <a:gd name="T33" fmla="*/ 24 h 670"/>
                <a:gd name="T34" fmla="*/ 300 w 458"/>
                <a:gd name="T35" fmla="*/ 8 h 670"/>
                <a:gd name="T36" fmla="*/ 305 w 458"/>
                <a:gd name="T37" fmla="*/ 39 h 670"/>
                <a:gd name="T38" fmla="*/ 237 w 458"/>
                <a:gd name="T39" fmla="*/ 230 h 670"/>
                <a:gd name="T40" fmla="*/ 238 w 458"/>
                <a:gd name="T41" fmla="*/ 266 h 670"/>
                <a:gd name="T42" fmla="*/ 255 w 458"/>
                <a:gd name="T43" fmla="*/ 252 h 670"/>
                <a:gd name="T44" fmla="*/ 319 w 458"/>
                <a:gd name="T45" fmla="*/ 71 h 670"/>
                <a:gd name="T46" fmla="*/ 346 w 458"/>
                <a:gd name="T47" fmla="*/ 55 h 670"/>
                <a:gd name="T48" fmla="*/ 350 w 458"/>
                <a:gd name="T49" fmla="*/ 95 h 670"/>
                <a:gd name="T50" fmla="*/ 305 w 458"/>
                <a:gd name="T51" fmla="*/ 233 h 670"/>
                <a:gd name="T52" fmla="*/ 275 w 458"/>
                <a:gd name="T53" fmla="*/ 363 h 670"/>
                <a:gd name="T54" fmla="*/ 296 w 458"/>
                <a:gd name="T55" fmla="*/ 369 h 670"/>
                <a:gd name="T56" fmla="*/ 360 w 458"/>
                <a:gd name="T57" fmla="*/ 322 h 670"/>
                <a:gd name="T58" fmla="*/ 457 w 458"/>
                <a:gd name="T59" fmla="*/ 322 h 670"/>
                <a:gd name="T60" fmla="*/ 425 w 458"/>
                <a:gd name="T61" fmla="*/ 342 h 670"/>
                <a:gd name="T62" fmla="*/ 341 w 458"/>
                <a:gd name="T63" fmla="*/ 399 h 670"/>
                <a:gd name="T64" fmla="*/ 237 w 458"/>
                <a:gd name="T65" fmla="*/ 508 h 670"/>
                <a:gd name="T66" fmla="*/ 184 w 458"/>
                <a:gd name="T67" fmla="*/ 612 h 670"/>
                <a:gd name="T68" fmla="*/ 177 w 458"/>
                <a:gd name="T69" fmla="*/ 644 h 670"/>
                <a:gd name="T70" fmla="*/ 135 w 458"/>
                <a:gd name="T71" fmla="*/ 652 h 670"/>
                <a:gd name="T72" fmla="*/ 27 w 458"/>
                <a:gd name="T73" fmla="*/ 5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58" h="670">
                  <a:moveTo>
                    <a:pt x="27" y="570"/>
                  </a:moveTo>
                  <a:lnTo>
                    <a:pt x="27" y="570"/>
                  </a:lnTo>
                  <a:cubicBezTo>
                    <a:pt x="8" y="552"/>
                    <a:pt x="2" y="527"/>
                    <a:pt x="1" y="505"/>
                  </a:cubicBezTo>
                  <a:cubicBezTo>
                    <a:pt x="0" y="455"/>
                    <a:pt x="0" y="421"/>
                    <a:pt x="17" y="354"/>
                  </a:cubicBezTo>
                  <a:cubicBezTo>
                    <a:pt x="60" y="183"/>
                    <a:pt x="119" y="85"/>
                    <a:pt x="126" y="75"/>
                  </a:cubicBezTo>
                  <a:cubicBezTo>
                    <a:pt x="133" y="65"/>
                    <a:pt x="145" y="60"/>
                    <a:pt x="151" y="63"/>
                  </a:cubicBezTo>
                  <a:cubicBezTo>
                    <a:pt x="157" y="65"/>
                    <a:pt x="155" y="76"/>
                    <a:pt x="153" y="81"/>
                  </a:cubicBezTo>
                  <a:cubicBezTo>
                    <a:pt x="138" y="116"/>
                    <a:pt x="122" y="158"/>
                    <a:pt x="113" y="185"/>
                  </a:cubicBezTo>
                  <a:cubicBezTo>
                    <a:pt x="111" y="193"/>
                    <a:pt x="107" y="208"/>
                    <a:pt x="113" y="211"/>
                  </a:cubicBezTo>
                  <a:cubicBezTo>
                    <a:pt x="120" y="214"/>
                    <a:pt x="126" y="208"/>
                    <a:pt x="128" y="199"/>
                  </a:cubicBezTo>
                  <a:cubicBezTo>
                    <a:pt x="156" y="121"/>
                    <a:pt x="194" y="38"/>
                    <a:pt x="201" y="26"/>
                  </a:cubicBezTo>
                  <a:cubicBezTo>
                    <a:pt x="210" y="9"/>
                    <a:pt x="220" y="0"/>
                    <a:pt x="229" y="4"/>
                  </a:cubicBezTo>
                  <a:cubicBezTo>
                    <a:pt x="240" y="9"/>
                    <a:pt x="239" y="20"/>
                    <a:pt x="234" y="34"/>
                  </a:cubicBezTo>
                  <a:cubicBezTo>
                    <a:pt x="229" y="47"/>
                    <a:pt x="193" y="130"/>
                    <a:pt x="174" y="197"/>
                  </a:cubicBezTo>
                  <a:cubicBezTo>
                    <a:pt x="168" y="217"/>
                    <a:pt x="165" y="233"/>
                    <a:pt x="174" y="237"/>
                  </a:cubicBezTo>
                  <a:cubicBezTo>
                    <a:pt x="184" y="240"/>
                    <a:pt x="192" y="223"/>
                    <a:pt x="197" y="209"/>
                  </a:cubicBezTo>
                  <a:cubicBezTo>
                    <a:pt x="232" y="100"/>
                    <a:pt x="264" y="39"/>
                    <a:pt x="273" y="24"/>
                  </a:cubicBezTo>
                  <a:cubicBezTo>
                    <a:pt x="280" y="11"/>
                    <a:pt x="292" y="5"/>
                    <a:pt x="300" y="8"/>
                  </a:cubicBezTo>
                  <a:cubicBezTo>
                    <a:pt x="311" y="12"/>
                    <a:pt x="312" y="23"/>
                    <a:pt x="305" y="39"/>
                  </a:cubicBezTo>
                  <a:cubicBezTo>
                    <a:pt x="269" y="121"/>
                    <a:pt x="241" y="213"/>
                    <a:pt x="237" y="230"/>
                  </a:cubicBezTo>
                  <a:cubicBezTo>
                    <a:pt x="233" y="247"/>
                    <a:pt x="231" y="263"/>
                    <a:pt x="238" y="266"/>
                  </a:cubicBezTo>
                  <a:cubicBezTo>
                    <a:pt x="245" y="268"/>
                    <a:pt x="252" y="262"/>
                    <a:pt x="255" y="252"/>
                  </a:cubicBezTo>
                  <a:cubicBezTo>
                    <a:pt x="271" y="193"/>
                    <a:pt x="308" y="95"/>
                    <a:pt x="319" y="71"/>
                  </a:cubicBezTo>
                  <a:cubicBezTo>
                    <a:pt x="326" y="57"/>
                    <a:pt x="335" y="51"/>
                    <a:pt x="346" y="55"/>
                  </a:cubicBezTo>
                  <a:cubicBezTo>
                    <a:pt x="356" y="59"/>
                    <a:pt x="357" y="76"/>
                    <a:pt x="350" y="95"/>
                  </a:cubicBezTo>
                  <a:cubicBezTo>
                    <a:pt x="343" y="116"/>
                    <a:pt x="325" y="163"/>
                    <a:pt x="305" y="233"/>
                  </a:cubicBezTo>
                  <a:cubicBezTo>
                    <a:pt x="278" y="325"/>
                    <a:pt x="271" y="347"/>
                    <a:pt x="275" y="363"/>
                  </a:cubicBezTo>
                  <a:cubicBezTo>
                    <a:pt x="276" y="368"/>
                    <a:pt x="279" y="379"/>
                    <a:pt x="296" y="369"/>
                  </a:cubicBezTo>
                  <a:cubicBezTo>
                    <a:pt x="316" y="358"/>
                    <a:pt x="340" y="334"/>
                    <a:pt x="360" y="322"/>
                  </a:cubicBezTo>
                  <a:cubicBezTo>
                    <a:pt x="409" y="294"/>
                    <a:pt x="453" y="302"/>
                    <a:pt x="457" y="322"/>
                  </a:cubicBezTo>
                  <a:cubicBezTo>
                    <a:pt x="458" y="328"/>
                    <a:pt x="437" y="336"/>
                    <a:pt x="425" y="342"/>
                  </a:cubicBezTo>
                  <a:cubicBezTo>
                    <a:pt x="394" y="356"/>
                    <a:pt x="374" y="372"/>
                    <a:pt x="341" y="399"/>
                  </a:cubicBezTo>
                  <a:cubicBezTo>
                    <a:pt x="303" y="431"/>
                    <a:pt x="270" y="465"/>
                    <a:pt x="237" y="508"/>
                  </a:cubicBezTo>
                  <a:cubicBezTo>
                    <a:pt x="213" y="537"/>
                    <a:pt x="198" y="557"/>
                    <a:pt x="184" y="612"/>
                  </a:cubicBezTo>
                  <a:cubicBezTo>
                    <a:pt x="181" y="625"/>
                    <a:pt x="180" y="632"/>
                    <a:pt x="177" y="644"/>
                  </a:cubicBezTo>
                  <a:cubicBezTo>
                    <a:pt x="175" y="653"/>
                    <a:pt x="163" y="670"/>
                    <a:pt x="135" y="652"/>
                  </a:cubicBezTo>
                  <a:cubicBezTo>
                    <a:pt x="114" y="639"/>
                    <a:pt x="62" y="602"/>
                    <a:pt x="27" y="57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E60EFFCA-6526-47A4-A122-400B6E981B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1" y="2287"/>
              <a:ext cx="405" cy="255"/>
            </a:xfrm>
            <a:custGeom>
              <a:avLst/>
              <a:gdLst>
                <a:gd name="T0" fmla="*/ 53 w 672"/>
                <a:gd name="T1" fmla="*/ 89 h 424"/>
                <a:gd name="T2" fmla="*/ 53 w 672"/>
                <a:gd name="T3" fmla="*/ 89 h 424"/>
                <a:gd name="T4" fmla="*/ 106 w 672"/>
                <a:gd name="T5" fmla="*/ 44 h 424"/>
                <a:gd name="T6" fmla="*/ 255 w 672"/>
                <a:gd name="T7" fmla="*/ 12 h 424"/>
                <a:gd name="T8" fmla="*/ 554 w 672"/>
                <a:gd name="T9" fmla="*/ 30 h 424"/>
                <a:gd name="T10" fmla="*/ 574 w 672"/>
                <a:gd name="T11" fmla="*/ 49 h 424"/>
                <a:gd name="T12" fmla="*/ 556 w 672"/>
                <a:gd name="T13" fmla="*/ 57 h 424"/>
                <a:gd name="T14" fmla="*/ 446 w 672"/>
                <a:gd name="T15" fmla="*/ 51 h 424"/>
                <a:gd name="T16" fmla="*/ 421 w 672"/>
                <a:gd name="T17" fmla="*/ 60 h 424"/>
                <a:gd name="T18" fmla="*/ 437 w 672"/>
                <a:gd name="T19" fmla="*/ 70 h 424"/>
                <a:gd name="T20" fmla="*/ 624 w 672"/>
                <a:gd name="T21" fmla="*/ 85 h 424"/>
                <a:gd name="T22" fmla="*/ 653 w 672"/>
                <a:gd name="T23" fmla="*/ 106 h 424"/>
                <a:gd name="T24" fmla="*/ 627 w 672"/>
                <a:gd name="T25" fmla="*/ 119 h 424"/>
                <a:gd name="T26" fmla="*/ 453 w 672"/>
                <a:gd name="T27" fmla="*/ 113 h 424"/>
                <a:gd name="T28" fmla="*/ 415 w 672"/>
                <a:gd name="T29" fmla="*/ 126 h 424"/>
                <a:gd name="T30" fmla="*/ 449 w 672"/>
                <a:gd name="T31" fmla="*/ 138 h 424"/>
                <a:gd name="T32" fmla="*/ 648 w 672"/>
                <a:gd name="T33" fmla="*/ 154 h 424"/>
                <a:gd name="T34" fmla="*/ 671 w 672"/>
                <a:gd name="T35" fmla="*/ 175 h 424"/>
                <a:gd name="T36" fmla="*/ 643 w 672"/>
                <a:gd name="T37" fmla="*/ 189 h 424"/>
                <a:gd name="T38" fmla="*/ 441 w 672"/>
                <a:gd name="T39" fmla="*/ 183 h 424"/>
                <a:gd name="T40" fmla="*/ 407 w 672"/>
                <a:gd name="T41" fmla="*/ 195 h 424"/>
                <a:gd name="T42" fmla="*/ 425 w 672"/>
                <a:gd name="T43" fmla="*/ 207 h 424"/>
                <a:gd name="T44" fmla="*/ 618 w 672"/>
                <a:gd name="T45" fmla="*/ 212 h 424"/>
                <a:gd name="T46" fmla="*/ 641 w 672"/>
                <a:gd name="T47" fmla="*/ 232 h 424"/>
                <a:gd name="T48" fmla="*/ 604 w 672"/>
                <a:gd name="T49" fmla="*/ 249 h 424"/>
                <a:gd name="T50" fmla="*/ 459 w 672"/>
                <a:gd name="T51" fmla="*/ 249 h 424"/>
                <a:gd name="T52" fmla="*/ 327 w 672"/>
                <a:gd name="T53" fmla="*/ 260 h 424"/>
                <a:gd name="T54" fmla="*/ 327 w 672"/>
                <a:gd name="T55" fmla="*/ 282 h 424"/>
                <a:gd name="T56" fmla="*/ 391 w 672"/>
                <a:gd name="T57" fmla="*/ 329 h 424"/>
                <a:gd name="T58" fmla="*/ 422 w 672"/>
                <a:gd name="T59" fmla="*/ 420 h 424"/>
                <a:gd name="T60" fmla="*/ 392 w 672"/>
                <a:gd name="T61" fmla="*/ 396 h 424"/>
                <a:gd name="T62" fmla="*/ 312 w 672"/>
                <a:gd name="T63" fmla="*/ 334 h 424"/>
                <a:gd name="T64" fmla="*/ 177 w 672"/>
                <a:gd name="T65" fmla="*/ 268 h 424"/>
                <a:gd name="T66" fmla="*/ 62 w 672"/>
                <a:gd name="T67" fmla="*/ 251 h 424"/>
                <a:gd name="T68" fmla="*/ 28 w 672"/>
                <a:gd name="T69" fmla="*/ 254 h 424"/>
                <a:gd name="T70" fmla="*/ 8 w 672"/>
                <a:gd name="T71" fmla="*/ 216 h 424"/>
                <a:gd name="T72" fmla="*/ 53 w 672"/>
                <a:gd name="T73" fmla="*/ 8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2" h="424">
                  <a:moveTo>
                    <a:pt x="53" y="89"/>
                  </a:moveTo>
                  <a:lnTo>
                    <a:pt x="53" y="89"/>
                  </a:lnTo>
                  <a:cubicBezTo>
                    <a:pt x="64" y="64"/>
                    <a:pt x="86" y="51"/>
                    <a:pt x="106" y="44"/>
                  </a:cubicBezTo>
                  <a:cubicBezTo>
                    <a:pt x="154" y="27"/>
                    <a:pt x="186" y="17"/>
                    <a:pt x="255" y="12"/>
                  </a:cubicBezTo>
                  <a:cubicBezTo>
                    <a:pt x="431" y="0"/>
                    <a:pt x="542" y="26"/>
                    <a:pt x="554" y="30"/>
                  </a:cubicBezTo>
                  <a:cubicBezTo>
                    <a:pt x="566" y="33"/>
                    <a:pt x="575" y="43"/>
                    <a:pt x="574" y="49"/>
                  </a:cubicBezTo>
                  <a:cubicBezTo>
                    <a:pt x="573" y="56"/>
                    <a:pt x="562" y="57"/>
                    <a:pt x="556" y="57"/>
                  </a:cubicBezTo>
                  <a:cubicBezTo>
                    <a:pt x="518" y="54"/>
                    <a:pt x="474" y="51"/>
                    <a:pt x="446" y="51"/>
                  </a:cubicBezTo>
                  <a:cubicBezTo>
                    <a:pt x="438" y="52"/>
                    <a:pt x="422" y="52"/>
                    <a:pt x="421" y="60"/>
                  </a:cubicBezTo>
                  <a:cubicBezTo>
                    <a:pt x="420" y="67"/>
                    <a:pt x="428" y="70"/>
                    <a:pt x="437" y="70"/>
                  </a:cubicBezTo>
                  <a:cubicBezTo>
                    <a:pt x="519" y="72"/>
                    <a:pt x="611" y="83"/>
                    <a:pt x="624" y="85"/>
                  </a:cubicBezTo>
                  <a:cubicBezTo>
                    <a:pt x="643" y="89"/>
                    <a:pt x="654" y="96"/>
                    <a:pt x="653" y="106"/>
                  </a:cubicBezTo>
                  <a:cubicBezTo>
                    <a:pt x="652" y="117"/>
                    <a:pt x="641" y="120"/>
                    <a:pt x="627" y="119"/>
                  </a:cubicBezTo>
                  <a:cubicBezTo>
                    <a:pt x="612" y="119"/>
                    <a:pt x="522" y="110"/>
                    <a:pt x="453" y="113"/>
                  </a:cubicBezTo>
                  <a:cubicBezTo>
                    <a:pt x="432" y="113"/>
                    <a:pt x="415" y="116"/>
                    <a:pt x="415" y="126"/>
                  </a:cubicBezTo>
                  <a:cubicBezTo>
                    <a:pt x="415" y="136"/>
                    <a:pt x="433" y="138"/>
                    <a:pt x="449" y="138"/>
                  </a:cubicBezTo>
                  <a:cubicBezTo>
                    <a:pt x="563" y="138"/>
                    <a:pt x="631" y="150"/>
                    <a:pt x="648" y="154"/>
                  </a:cubicBezTo>
                  <a:cubicBezTo>
                    <a:pt x="662" y="157"/>
                    <a:pt x="672" y="166"/>
                    <a:pt x="671" y="175"/>
                  </a:cubicBezTo>
                  <a:cubicBezTo>
                    <a:pt x="671" y="186"/>
                    <a:pt x="661" y="191"/>
                    <a:pt x="643" y="189"/>
                  </a:cubicBezTo>
                  <a:cubicBezTo>
                    <a:pt x="555" y="180"/>
                    <a:pt x="459" y="182"/>
                    <a:pt x="441" y="183"/>
                  </a:cubicBezTo>
                  <a:cubicBezTo>
                    <a:pt x="423" y="184"/>
                    <a:pt x="408" y="188"/>
                    <a:pt x="407" y="195"/>
                  </a:cubicBezTo>
                  <a:cubicBezTo>
                    <a:pt x="407" y="203"/>
                    <a:pt x="415" y="207"/>
                    <a:pt x="425" y="207"/>
                  </a:cubicBezTo>
                  <a:cubicBezTo>
                    <a:pt x="487" y="204"/>
                    <a:pt x="591" y="209"/>
                    <a:pt x="618" y="212"/>
                  </a:cubicBezTo>
                  <a:cubicBezTo>
                    <a:pt x="633" y="214"/>
                    <a:pt x="642" y="221"/>
                    <a:pt x="641" y="232"/>
                  </a:cubicBezTo>
                  <a:cubicBezTo>
                    <a:pt x="640" y="243"/>
                    <a:pt x="624" y="250"/>
                    <a:pt x="604" y="249"/>
                  </a:cubicBezTo>
                  <a:cubicBezTo>
                    <a:pt x="582" y="249"/>
                    <a:pt x="532" y="246"/>
                    <a:pt x="459" y="249"/>
                  </a:cubicBezTo>
                  <a:cubicBezTo>
                    <a:pt x="364" y="252"/>
                    <a:pt x="340" y="252"/>
                    <a:pt x="327" y="260"/>
                  </a:cubicBezTo>
                  <a:cubicBezTo>
                    <a:pt x="321" y="263"/>
                    <a:pt x="312" y="270"/>
                    <a:pt x="327" y="282"/>
                  </a:cubicBezTo>
                  <a:cubicBezTo>
                    <a:pt x="344" y="297"/>
                    <a:pt x="374" y="314"/>
                    <a:pt x="391" y="329"/>
                  </a:cubicBezTo>
                  <a:cubicBezTo>
                    <a:pt x="434" y="367"/>
                    <a:pt x="439" y="410"/>
                    <a:pt x="422" y="420"/>
                  </a:cubicBezTo>
                  <a:cubicBezTo>
                    <a:pt x="416" y="424"/>
                    <a:pt x="402" y="407"/>
                    <a:pt x="392" y="396"/>
                  </a:cubicBezTo>
                  <a:cubicBezTo>
                    <a:pt x="370" y="371"/>
                    <a:pt x="349" y="357"/>
                    <a:pt x="312" y="334"/>
                  </a:cubicBezTo>
                  <a:cubicBezTo>
                    <a:pt x="270" y="308"/>
                    <a:pt x="228" y="287"/>
                    <a:pt x="177" y="268"/>
                  </a:cubicBezTo>
                  <a:cubicBezTo>
                    <a:pt x="142" y="255"/>
                    <a:pt x="117" y="247"/>
                    <a:pt x="62" y="251"/>
                  </a:cubicBezTo>
                  <a:cubicBezTo>
                    <a:pt x="48" y="252"/>
                    <a:pt x="41" y="253"/>
                    <a:pt x="28" y="254"/>
                  </a:cubicBezTo>
                  <a:cubicBezTo>
                    <a:pt x="19" y="255"/>
                    <a:pt x="0" y="248"/>
                    <a:pt x="8" y="216"/>
                  </a:cubicBezTo>
                  <a:cubicBezTo>
                    <a:pt x="14" y="193"/>
                    <a:pt x="33" y="132"/>
                    <a:pt x="53" y="8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3690CA69-9D4F-4970-BF1E-CAE709B4DB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68" y="1958"/>
              <a:ext cx="16" cy="15"/>
            </a:xfrm>
            <a:custGeom>
              <a:avLst/>
              <a:gdLst>
                <a:gd name="T0" fmla="*/ 13 w 27"/>
                <a:gd name="T1" fmla="*/ 0 h 25"/>
                <a:gd name="T2" fmla="*/ 13 w 27"/>
                <a:gd name="T3" fmla="*/ 0 h 25"/>
                <a:gd name="T4" fmla="*/ 17 w 27"/>
                <a:gd name="T5" fmla="*/ 9 h 25"/>
                <a:gd name="T6" fmla="*/ 27 w 27"/>
                <a:gd name="T7" fmla="*/ 9 h 25"/>
                <a:gd name="T8" fmla="*/ 19 w 27"/>
                <a:gd name="T9" fmla="*/ 16 h 25"/>
                <a:gd name="T10" fmla="*/ 22 w 27"/>
                <a:gd name="T11" fmla="*/ 25 h 25"/>
                <a:gd name="T12" fmla="*/ 13 w 27"/>
                <a:gd name="T13" fmla="*/ 19 h 25"/>
                <a:gd name="T14" fmla="*/ 5 w 27"/>
                <a:gd name="T15" fmla="*/ 25 h 25"/>
                <a:gd name="T16" fmla="*/ 8 w 27"/>
                <a:gd name="T17" fmla="*/ 16 h 25"/>
                <a:gd name="T18" fmla="*/ 0 w 27"/>
                <a:gd name="T19" fmla="*/ 9 h 25"/>
                <a:gd name="T20" fmla="*/ 10 w 27"/>
                <a:gd name="T21" fmla="*/ 9 h 25"/>
                <a:gd name="T22" fmla="*/ 13 w 27"/>
                <a:gd name="T2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25">
                  <a:moveTo>
                    <a:pt x="13" y="0"/>
                  </a:moveTo>
                  <a:lnTo>
                    <a:pt x="13" y="0"/>
                  </a:lnTo>
                  <a:lnTo>
                    <a:pt x="17" y="9"/>
                  </a:lnTo>
                  <a:lnTo>
                    <a:pt x="27" y="9"/>
                  </a:lnTo>
                  <a:lnTo>
                    <a:pt x="19" y="16"/>
                  </a:lnTo>
                  <a:lnTo>
                    <a:pt x="22" y="25"/>
                  </a:lnTo>
                  <a:lnTo>
                    <a:pt x="13" y="19"/>
                  </a:lnTo>
                  <a:lnTo>
                    <a:pt x="5" y="25"/>
                  </a:lnTo>
                  <a:lnTo>
                    <a:pt x="8" y="16"/>
                  </a:lnTo>
                  <a:lnTo>
                    <a:pt x="0" y="9"/>
                  </a:lnTo>
                  <a:lnTo>
                    <a:pt x="10" y="9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72D48F54-9635-4C77-AC28-CA921BE0C8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75" y="1993"/>
              <a:ext cx="59" cy="55"/>
            </a:xfrm>
            <a:custGeom>
              <a:avLst/>
              <a:gdLst>
                <a:gd name="T0" fmla="*/ 49 w 97"/>
                <a:gd name="T1" fmla="*/ 0 h 92"/>
                <a:gd name="T2" fmla="*/ 49 w 97"/>
                <a:gd name="T3" fmla="*/ 0 h 92"/>
                <a:gd name="T4" fmla="*/ 61 w 97"/>
                <a:gd name="T5" fmla="*/ 34 h 92"/>
                <a:gd name="T6" fmla="*/ 97 w 97"/>
                <a:gd name="T7" fmla="*/ 35 h 92"/>
                <a:gd name="T8" fmla="*/ 68 w 97"/>
                <a:gd name="T9" fmla="*/ 57 h 92"/>
                <a:gd name="T10" fmla="*/ 79 w 97"/>
                <a:gd name="T11" fmla="*/ 92 h 92"/>
                <a:gd name="T12" fmla="*/ 49 w 97"/>
                <a:gd name="T13" fmla="*/ 71 h 92"/>
                <a:gd name="T14" fmla="*/ 19 w 97"/>
                <a:gd name="T15" fmla="*/ 92 h 92"/>
                <a:gd name="T16" fmla="*/ 29 w 97"/>
                <a:gd name="T17" fmla="*/ 57 h 92"/>
                <a:gd name="T18" fmla="*/ 0 w 97"/>
                <a:gd name="T19" fmla="*/ 35 h 92"/>
                <a:gd name="T20" fmla="*/ 37 w 97"/>
                <a:gd name="T21" fmla="*/ 34 h 92"/>
                <a:gd name="T22" fmla="*/ 49 w 97"/>
                <a:gd name="T2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49" y="0"/>
                  </a:moveTo>
                  <a:lnTo>
                    <a:pt x="49" y="0"/>
                  </a:lnTo>
                  <a:lnTo>
                    <a:pt x="61" y="34"/>
                  </a:lnTo>
                  <a:lnTo>
                    <a:pt x="97" y="35"/>
                  </a:lnTo>
                  <a:lnTo>
                    <a:pt x="68" y="57"/>
                  </a:lnTo>
                  <a:lnTo>
                    <a:pt x="79" y="92"/>
                  </a:lnTo>
                  <a:lnTo>
                    <a:pt x="49" y="71"/>
                  </a:lnTo>
                  <a:lnTo>
                    <a:pt x="19" y="92"/>
                  </a:lnTo>
                  <a:lnTo>
                    <a:pt x="29" y="57"/>
                  </a:lnTo>
                  <a:lnTo>
                    <a:pt x="0" y="35"/>
                  </a:lnTo>
                  <a:lnTo>
                    <a:pt x="37" y="34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6F243C72-9C1D-402E-A00E-57CF11FF52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06" y="1966"/>
              <a:ext cx="90" cy="86"/>
            </a:xfrm>
            <a:custGeom>
              <a:avLst/>
              <a:gdLst>
                <a:gd name="T0" fmla="*/ 75 w 150"/>
                <a:gd name="T1" fmla="*/ 0 h 143"/>
                <a:gd name="T2" fmla="*/ 75 w 150"/>
                <a:gd name="T3" fmla="*/ 0 h 143"/>
                <a:gd name="T4" fmla="*/ 94 w 150"/>
                <a:gd name="T5" fmla="*/ 53 h 143"/>
                <a:gd name="T6" fmla="*/ 150 w 150"/>
                <a:gd name="T7" fmla="*/ 54 h 143"/>
                <a:gd name="T8" fmla="*/ 105 w 150"/>
                <a:gd name="T9" fmla="*/ 88 h 143"/>
                <a:gd name="T10" fmla="*/ 122 w 150"/>
                <a:gd name="T11" fmla="*/ 143 h 143"/>
                <a:gd name="T12" fmla="*/ 75 w 150"/>
                <a:gd name="T13" fmla="*/ 110 h 143"/>
                <a:gd name="T14" fmla="*/ 29 w 150"/>
                <a:gd name="T15" fmla="*/ 143 h 143"/>
                <a:gd name="T16" fmla="*/ 45 w 150"/>
                <a:gd name="T17" fmla="*/ 88 h 143"/>
                <a:gd name="T18" fmla="*/ 0 w 150"/>
                <a:gd name="T19" fmla="*/ 54 h 143"/>
                <a:gd name="T20" fmla="*/ 56 w 150"/>
                <a:gd name="T21" fmla="*/ 53 h 143"/>
                <a:gd name="T22" fmla="*/ 75 w 150"/>
                <a:gd name="T23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143">
                  <a:moveTo>
                    <a:pt x="75" y="0"/>
                  </a:moveTo>
                  <a:lnTo>
                    <a:pt x="75" y="0"/>
                  </a:lnTo>
                  <a:lnTo>
                    <a:pt x="94" y="53"/>
                  </a:lnTo>
                  <a:lnTo>
                    <a:pt x="150" y="54"/>
                  </a:lnTo>
                  <a:lnTo>
                    <a:pt x="105" y="88"/>
                  </a:lnTo>
                  <a:lnTo>
                    <a:pt x="122" y="143"/>
                  </a:lnTo>
                  <a:lnTo>
                    <a:pt x="75" y="110"/>
                  </a:lnTo>
                  <a:lnTo>
                    <a:pt x="29" y="143"/>
                  </a:lnTo>
                  <a:lnTo>
                    <a:pt x="45" y="88"/>
                  </a:lnTo>
                  <a:lnTo>
                    <a:pt x="0" y="54"/>
                  </a:lnTo>
                  <a:lnTo>
                    <a:pt x="56" y="53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F062EBA6-B071-4620-BEB7-D6D1691AF6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59" y="2180"/>
              <a:ext cx="45" cy="42"/>
            </a:xfrm>
            <a:custGeom>
              <a:avLst/>
              <a:gdLst>
                <a:gd name="T0" fmla="*/ 37 w 74"/>
                <a:gd name="T1" fmla="*/ 0 h 70"/>
                <a:gd name="T2" fmla="*/ 37 w 74"/>
                <a:gd name="T3" fmla="*/ 0 h 70"/>
                <a:gd name="T4" fmla="*/ 46 w 74"/>
                <a:gd name="T5" fmla="*/ 26 h 70"/>
                <a:gd name="T6" fmla="*/ 74 w 74"/>
                <a:gd name="T7" fmla="*/ 27 h 70"/>
                <a:gd name="T8" fmla="*/ 52 w 74"/>
                <a:gd name="T9" fmla="*/ 44 h 70"/>
                <a:gd name="T10" fmla="*/ 60 w 74"/>
                <a:gd name="T11" fmla="*/ 70 h 70"/>
                <a:gd name="T12" fmla="*/ 37 w 74"/>
                <a:gd name="T13" fmla="*/ 54 h 70"/>
                <a:gd name="T14" fmla="*/ 14 w 74"/>
                <a:gd name="T15" fmla="*/ 70 h 70"/>
                <a:gd name="T16" fmla="*/ 22 w 74"/>
                <a:gd name="T17" fmla="*/ 44 h 70"/>
                <a:gd name="T18" fmla="*/ 0 w 74"/>
                <a:gd name="T19" fmla="*/ 27 h 70"/>
                <a:gd name="T20" fmla="*/ 28 w 74"/>
                <a:gd name="T21" fmla="*/ 26 h 70"/>
                <a:gd name="T22" fmla="*/ 37 w 74"/>
                <a:gd name="T2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70">
                  <a:moveTo>
                    <a:pt x="37" y="0"/>
                  </a:moveTo>
                  <a:lnTo>
                    <a:pt x="37" y="0"/>
                  </a:lnTo>
                  <a:lnTo>
                    <a:pt x="46" y="26"/>
                  </a:lnTo>
                  <a:lnTo>
                    <a:pt x="74" y="27"/>
                  </a:lnTo>
                  <a:lnTo>
                    <a:pt x="52" y="44"/>
                  </a:lnTo>
                  <a:lnTo>
                    <a:pt x="60" y="70"/>
                  </a:lnTo>
                  <a:lnTo>
                    <a:pt x="37" y="54"/>
                  </a:lnTo>
                  <a:lnTo>
                    <a:pt x="14" y="70"/>
                  </a:lnTo>
                  <a:lnTo>
                    <a:pt x="22" y="44"/>
                  </a:lnTo>
                  <a:lnTo>
                    <a:pt x="0" y="27"/>
                  </a:lnTo>
                  <a:lnTo>
                    <a:pt x="28" y="26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786BDA12-544F-4739-8DF8-9A1DA387A5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52" y="2066"/>
              <a:ext cx="187" cy="177"/>
            </a:xfrm>
            <a:custGeom>
              <a:avLst/>
              <a:gdLst>
                <a:gd name="T0" fmla="*/ 156 w 311"/>
                <a:gd name="T1" fmla="*/ 0 h 295"/>
                <a:gd name="T2" fmla="*/ 156 w 311"/>
                <a:gd name="T3" fmla="*/ 0 h 295"/>
                <a:gd name="T4" fmla="*/ 194 w 311"/>
                <a:gd name="T5" fmla="*/ 110 h 295"/>
                <a:gd name="T6" fmla="*/ 311 w 311"/>
                <a:gd name="T7" fmla="*/ 113 h 295"/>
                <a:gd name="T8" fmla="*/ 218 w 311"/>
                <a:gd name="T9" fmla="*/ 183 h 295"/>
                <a:gd name="T10" fmla="*/ 251 w 311"/>
                <a:gd name="T11" fmla="*/ 295 h 295"/>
                <a:gd name="T12" fmla="*/ 156 w 311"/>
                <a:gd name="T13" fmla="*/ 228 h 295"/>
                <a:gd name="T14" fmla="*/ 60 w 311"/>
                <a:gd name="T15" fmla="*/ 295 h 295"/>
                <a:gd name="T16" fmla="*/ 93 w 311"/>
                <a:gd name="T17" fmla="*/ 183 h 295"/>
                <a:gd name="T18" fmla="*/ 0 w 311"/>
                <a:gd name="T19" fmla="*/ 113 h 295"/>
                <a:gd name="T20" fmla="*/ 117 w 311"/>
                <a:gd name="T21" fmla="*/ 110 h 295"/>
                <a:gd name="T22" fmla="*/ 156 w 311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1" h="295">
                  <a:moveTo>
                    <a:pt x="156" y="0"/>
                  </a:moveTo>
                  <a:lnTo>
                    <a:pt x="156" y="0"/>
                  </a:lnTo>
                  <a:lnTo>
                    <a:pt x="194" y="110"/>
                  </a:lnTo>
                  <a:lnTo>
                    <a:pt x="311" y="113"/>
                  </a:lnTo>
                  <a:lnTo>
                    <a:pt x="218" y="183"/>
                  </a:lnTo>
                  <a:lnTo>
                    <a:pt x="251" y="295"/>
                  </a:lnTo>
                  <a:lnTo>
                    <a:pt x="156" y="228"/>
                  </a:lnTo>
                  <a:lnTo>
                    <a:pt x="60" y="295"/>
                  </a:lnTo>
                  <a:lnTo>
                    <a:pt x="93" y="183"/>
                  </a:lnTo>
                  <a:lnTo>
                    <a:pt x="0" y="113"/>
                  </a:lnTo>
                  <a:lnTo>
                    <a:pt x="117" y="110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6">
              <a:extLst>
                <a:ext uri="{FF2B5EF4-FFF2-40B4-BE49-F238E27FC236}">
                  <a16:creationId xmlns:a16="http://schemas.microsoft.com/office/drawing/2014/main" id="{7165E639-477C-41D1-9FF1-F2C36081E0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098"/>
              <a:ext cx="52" cy="49"/>
            </a:xfrm>
            <a:custGeom>
              <a:avLst/>
              <a:gdLst>
                <a:gd name="T0" fmla="*/ 42 w 85"/>
                <a:gd name="T1" fmla="*/ 0 h 81"/>
                <a:gd name="T2" fmla="*/ 42 w 85"/>
                <a:gd name="T3" fmla="*/ 0 h 81"/>
                <a:gd name="T4" fmla="*/ 53 w 85"/>
                <a:gd name="T5" fmla="*/ 30 h 81"/>
                <a:gd name="T6" fmla="*/ 85 w 85"/>
                <a:gd name="T7" fmla="*/ 31 h 81"/>
                <a:gd name="T8" fmla="*/ 59 w 85"/>
                <a:gd name="T9" fmla="*/ 50 h 81"/>
                <a:gd name="T10" fmla="*/ 69 w 85"/>
                <a:gd name="T11" fmla="*/ 81 h 81"/>
                <a:gd name="T12" fmla="*/ 42 w 85"/>
                <a:gd name="T13" fmla="*/ 62 h 81"/>
                <a:gd name="T14" fmla="*/ 16 w 85"/>
                <a:gd name="T15" fmla="*/ 81 h 81"/>
                <a:gd name="T16" fmla="*/ 25 w 85"/>
                <a:gd name="T17" fmla="*/ 50 h 81"/>
                <a:gd name="T18" fmla="*/ 0 w 85"/>
                <a:gd name="T19" fmla="*/ 31 h 81"/>
                <a:gd name="T20" fmla="*/ 32 w 85"/>
                <a:gd name="T21" fmla="*/ 30 h 81"/>
                <a:gd name="T22" fmla="*/ 42 w 85"/>
                <a:gd name="T2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81">
                  <a:moveTo>
                    <a:pt x="42" y="0"/>
                  </a:moveTo>
                  <a:lnTo>
                    <a:pt x="42" y="0"/>
                  </a:lnTo>
                  <a:lnTo>
                    <a:pt x="53" y="30"/>
                  </a:lnTo>
                  <a:lnTo>
                    <a:pt x="85" y="31"/>
                  </a:lnTo>
                  <a:lnTo>
                    <a:pt x="59" y="50"/>
                  </a:lnTo>
                  <a:lnTo>
                    <a:pt x="69" y="81"/>
                  </a:lnTo>
                  <a:lnTo>
                    <a:pt x="42" y="62"/>
                  </a:lnTo>
                  <a:lnTo>
                    <a:pt x="16" y="81"/>
                  </a:lnTo>
                  <a:lnTo>
                    <a:pt x="25" y="50"/>
                  </a:lnTo>
                  <a:lnTo>
                    <a:pt x="0" y="31"/>
                  </a:lnTo>
                  <a:lnTo>
                    <a:pt x="32" y="3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7">
              <a:extLst>
                <a:ext uri="{FF2B5EF4-FFF2-40B4-BE49-F238E27FC236}">
                  <a16:creationId xmlns:a16="http://schemas.microsoft.com/office/drawing/2014/main" id="{B9CA2B75-AFD5-45CC-B185-FFA76D277D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96" y="2985"/>
              <a:ext cx="214" cy="203"/>
            </a:xfrm>
            <a:custGeom>
              <a:avLst/>
              <a:gdLst>
                <a:gd name="T0" fmla="*/ 73 w 354"/>
                <a:gd name="T1" fmla="*/ 335 h 338"/>
                <a:gd name="T2" fmla="*/ 73 w 354"/>
                <a:gd name="T3" fmla="*/ 335 h 338"/>
                <a:gd name="T4" fmla="*/ 66 w 354"/>
                <a:gd name="T5" fmla="*/ 330 h 338"/>
                <a:gd name="T6" fmla="*/ 105 w 354"/>
                <a:gd name="T7" fmla="*/ 209 h 338"/>
                <a:gd name="T8" fmla="*/ 2 w 354"/>
                <a:gd name="T9" fmla="*/ 134 h 338"/>
                <a:gd name="T10" fmla="*/ 5 w 354"/>
                <a:gd name="T11" fmla="*/ 126 h 338"/>
                <a:gd name="T12" fmla="*/ 133 w 354"/>
                <a:gd name="T13" fmla="*/ 126 h 338"/>
                <a:gd name="T14" fmla="*/ 172 w 354"/>
                <a:gd name="T15" fmla="*/ 4 h 338"/>
                <a:gd name="T16" fmla="*/ 181 w 354"/>
                <a:gd name="T17" fmla="*/ 5 h 338"/>
                <a:gd name="T18" fmla="*/ 220 w 354"/>
                <a:gd name="T19" fmla="*/ 126 h 338"/>
                <a:gd name="T20" fmla="*/ 347 w 354"/>
                <a:gd name="T21" fmla="*/ 126 h 338"/>
                <a:gd name="T22" fmla="*/ 350 w 354"/>
                <a:gd name="T23" fmla="*/ 134 h 338"/>
                <a:gd name="T24" fmla="*/ 289 w 354"/>
                <a:gd name="T25" fmla="*/ 179 h 338"/>
                <a:gd name="T26" fmla="*/ 216 w 354"/>
                <a:gd name="T27" fmla="*/ 179 h 338"/>
                <a:gd name="T28" fmla="*/ 193 w 354"/>
                <a:gd name="T29" fmla="*/ 110 h 338"/>
                <a:gd name="T30" fmla="*/ 171 w 354"/>
                <a:gd name="T31" fmla="*/ 179 h 338"/>
                <a:gd name="T32" fmla="*/ 98 w 354"/>
                <a:gd name="T33" fmla="*/ 179 h 338"/>
                <a:gd name="T34" fmla="*/ 157 w 354"/>
                <a:gd name="T35" fmla="*/ 221 h 338"/>
                <a:gd name="T36" fmla="*/ 135 w 354"/>
                <a:gd name="T37" fmla="*/ 290 h 338"/>
                <a:gd name="T38" fmla="*/ 73 w 354"/>
                <a:gd name="T39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4" h="338">
                  <a:moveTo>
                    <a:pt x="73" y="335"/>
                  </a:moveTo>
                  <a:lnTo>
                    <a:pt x="73" y="335"/>
                  </a:lnTo>
                  <a:cubicBezTo>
                    <a:pt x="70" y="338"/>
                    <a:pt x="65" y="334"/>
                    <a:pt x="66" y="330"/>
                  </a:cubicBezTo>
                  <a:cubicBezTo>
                    <a:pt x="68" y="324"/>
                    <a:pt x="105" y="209"/>
                    <a:pt x="105" y="209"/>
                  </a:cubicBezTo>
                  <a:lnTo>
                    <a:pt x="2" y="134"/>
                  </a:lnTo>
                  <a:cubicBezTo>
                    <a:pt x="0" y="131"/>
                    <a:pt x="1" y="126"/>
                    <a:pt x="5" y="126"/>
                  </a:cubicBezTo>
                  <a:cubicBezTo>
                    <a:pt x="12" y="126"/>
                    <a:pt x="133" y="126"/>
                    <a:pt x="133" y="126"/>
                  </a:cubicBezTo>
                  <a:cubicBezTo>
                    <a:pt x="133" y="126"/>
                    <a:pt x="170" y="11"/>
                    <a:pt x="172" y="4"/>
                  </a:cubicBezTo>
                  <a:cubicBezTo>
                    <a:pt x="173" y="0"/>
                    <a:pt x="179" y="0"/>
                    <a:pt x="181" y="5"/>
                  </a:cubicBezTo>
                  <a:cubicBezTo>
                    <a:pt x="183" y="11"/>
                    <a:pt x="220" y="126"/>
                    <a:pt x="220" y="126"/>
                  </a:cubicBezTo>
                  <a:cubicBezTo>
                    <a:pt x="220" y="126"/>
                    <a:pt x="341" y="126"/>
                    <a:pt x="347" y="126"/>
                  </a:cubicBezTo>
                  <a:cubicBezTo>
                    <a:pt x="352" y="126"/>
                    <a:pt x="354" y="131"/>
                    <a:pt x="350" y="134"/>
                  </a:cubicBezTo>
                  <a:lnTo>
                    <a:pt x="289" y="179"/>
                  </a:lnTo>
                  <a:lnTo>
                    <a:pt x="216" y="179"/>
                  </a:lnTo>
                  <a:lnTo>
                    <a:pt x="193" y="110"/>
                  </a:lnTo>
                  <a:lnTo>
                    <a:pt x="171" y="179"/>
                  </a:lnTo>
                  <a:lnTo>
                    <a:pt x="98" y="179"/>
                  </a:lnTo>
                  <a:lnTo>
                    <a:pt x="157" y="221"/>
                  </a:lnTo>
                  <a:lnTo>
                    <a:pt x="135" y="290"/>
                  </a:lnTo>
                  <a:cubicBezTo>
                    <a:pt x="135" y="290"/>
                    <a:pt x="77" y="332"/>
                    <a:pt x="73" y="335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8">
              <a:extLst>
                <a:ext uri="{FF2B5EF4-FFF2-40B4-BE49-F238E27FC236}">
                  <a16:creationId xmlns:a16="http://schemas.microsoft.com/office/drawing/2014/main" id="{39214D02-BE52-4D8D-95D0-635BB3D91C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24" y="3126"/>
              <a:ext cx="1194" cy="166"/>
            </a:xfrm>
            <a:custGeom>
              <a:avLst/>
              <a:gdLst>
                <a:gd name="T0" fmla="*/ 1979 w 1979"/>
                <a:gd name="T1" fmla="*/ 10 h 276"/>
                <a:gd name="T2" fmla="*/ 1953 w 1979"/>
                <a:gd name="T3" fmla="*/ 276 h 276"/>
                <a:gd name="T4" fmla="*/ 1809 w 1979"/>
                <a:gd name="T5" fmla="*/ 147 h 276"/>
                <a:gd name="T6" fmla="*/ 1753 w 1979"/>
                <a:gd name="T7" fmla="*/ 0 h 276"/>
                <a:gd name="T8" fmla="*/ 1915 w 1979"/>
                <a:gd name="T9" fmla="*/ 154 h 276"/>
                <a:gd name="T10" fmla="*/ 1979 w 1979"/>
                <a:gd name="T11" fmla="*/ 0 h 276"/>
                <a:gd name="T12" fmla="*/ 912 w 1979"/>
                <a:gd name="T13" fmla="*/ 0 h 276"/>
                <a:gd name="T14" fmla="*/ 852 w 1979"/>
                <a:gd name="T15" fmla="*/ 276 h 276"/>
                <a:gd name="T16" fmla="*/ 754 w 1979"/>
                <a:gd name="T17" fmla="*/ 276 h 276"/>
                <a:gd name="T18" fmla="*/ 734 w 1979"/>
                <a:gd name="T19" fmla="*/ 0 h 276"/>
                <a:gd name="T20" fmla="*/ 857 w 1979"/>
                <a:gd name="T21" fmla="*/ 125 h 276"/>
                <a:gd name="T22" fmla="*/ 912 w 1979"/>
                <a:gd name="T23" fmla="*/ 0 h 276"/>
                <a:gd name="T24" fmla="*/ 151 w 1979"/>
                <a:gd name="T25" fmla="*/ 0 h 276"/>
                <a:gd name="T26" fmla="*/ 86 w 1979"/>
                <a:gd name="T27" fmla="*/ 0 h 276"/>
                <a:gd name="T28" fmla="*/ 11 w 1979"/>
                <a:gd name="T29" fmla="*/ 29 h 276"/>
                <a:gd name="T30" fmla="*/ 86 w 1979"/>
                <a:gd name="T31" fmla="*/ 156 h 276"/>
                <a:gd name="T32" fmla="*/ 225 w 1979"/>
                <a:gd name="T33" fmla="*/ 276 h 276"/>
                <a:gd name="T34" fmla="*/ 466 w 1979"/>
                <a:gd name="T35" fmla="*/ 0 h 276"/>
                <a:gd name="T36" fmla="*/ 300 w 1979"/>
                <a:gd name="T37" fmla="*/ 251 h 276"/>
                <a:gd name="T38" fmla="*/ 481 w 1979"/>
                <a:gd name="T39" fmla="*/ 261 h 276"/>
                <a:gd name="T40" fmla="*/ 374 w 1979"/>
                <a:gd name="T41" fmla="*/ 214 h 276"/>
                <a:gd name="T42" fmla="*/ 459 w 1979"/>
                <a:gd name="T43" fmla="*/ 105 h 276"/>
                <a:gd name="T44" fmla="*/ 481 w 1979"/>
                <a:gd name="T45" fmla="*/ 50 h 276"/>
                <a:gd name="T46" fmla="*/ 622 w 1979"/>
                <a:gd name="T47" fmla="*/ 0 h 276"/>
                <a:gd name="T48" fmla="*/ 548 w 1979"/>
                <a:gd name="T49" fmla="*/ 261 h 276"/>
                <a:gd name="T50" fmla="*/ 622 w 1979"/>
                <a:gd name="T51" fmla="*/ 0 h 276"/>
                <a:gd name="T52" fmla="*/ 1676 w 1979"/>
                <a:gd name="T53" fmla="*/ 0 h 276"/>
                <a:gd name="T54" fmla="*/ 1538 w 1979"/>
                <a:gd name="T55" fmla="*/ 276 h 276"/>
                <a:gd name="T56" fmla="*/ 1691 w 1979"/>
                <a:gd name="T57" fmla="*/ 225 h 276"/>
                <a:gd name="T58" fmla="*/ 1584 w 1979"/>
                <a:gd name="T59" fmla="*/ 156 h 276"/>
                <a:gd name="T60" fmla="*/ 1584 w 1979"/>
                <a:gd name="T61" fmla="*/ 105 h 276"/>
                <a:gd name="T62" fmla="*/ 1691 w 1979"/>
                <a:gd name="T63" fmla="*/ 14 h 276"/>
                <a:gd name="T64" fmla="*/ 1153 w 1979"/>
                <a:gd name="T65" fmla="*/ 0 h 276"/>
                <a:gd name="T66" fmla="*/ 1015 w 1979"/>
                <a:gd name="T67" fmla="*/ 276 h 276"/>
                <a:gd name="T68" fmla="*/ 1168 w 1979"/>
                <a:gd name="T69" fmla="*/ 225 h 276"/>
                <a:gd name="T70" fmla="*/ 1062 w 1979"/>
                <a:gd name="T71" fmla="*/ 156 h 276"/>
                <a:gd name="T72" fmla="*/ 1062 w 1979"/>
                <a:gd name="T73" fmla="*/ 105 h 276"/>
                <a:gd name="T74" fmla="*/ 1168 w 1979"/>
                <a:gd name="T75" fmla="*/ 14 h 276"/>
                <a:gd name="T76" fmla="*/ 1467 w 1979"/>
                <a:gd name="T77" fmla="*/ 0 h 276"/>
                <a:gd name="T78" fmla="*/ 1305 w 1979"/>
                <a:gd name="T79" fmla="*/ 102 h 276"/>
                <a:gd name="T80" fmla="*/ 1231 w 1979"/>
                <a:gd name="T81" fmla="*/ 261 h 276"/>
                <a:gd name="T82" fmla="*/ 1305 w 1979"/>
                <a:gd name="T83" fmla="*/ 150 h 276"/>
                <a:gd name="T84" fmla="*/ 1473 w 1979"/>
                <a:gd name="T85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79" h="276">
                  <a:moveTo>
                    <a:pt x="1979" y="0"/>
                  </a:moveTo>
                  <a:lnTo>
                    <a:pt x="1979" y="0"/>
                  </a:lnTo>
                  <a:lnTo>
                    <a:pt x="1979" y="10"/>
                  </a:lnTo>
                  <a:cubicBezTo>
                    <a:pt x="1979" y="10"/>
                    <a:pt x="1968" y="15"/>
                    <a:pt x="1968" y="29"/>
                  </a:cubicBezTo>
                  <a:lnTo>
                    <a:pt x="1968" y="261"/>
                  </a:lnTo>
                  <a:cubicBezTo>
                    <a:pt x="1968" y="269"/>
                    <a:pt x="1961" y="276"/>
                    <a:pt x="1953" y="276"/>
                  </a:cubicBezTo>
                  <a:lnTo>
                    <a:pt x="1907" y="276"/>
                  </a:lnTo>
                  <a:lnTo>
                    <a:pt x="1807" y="117"/>
                  </a:lnTo>
                  <a:cubicBezTo>
                    <a:pt x="1807" y="117"/>
                    <a:pt x="1809" y="131"/>
                    <a:pt x="1809" y="147"/>
                  </a:cubicBezTo>
                  <a:lnTo>
                    <a:pt x="1809" y="276"/>
                  </a:lnTo>
                  <a:lnTo>
                    <a:pt x="1753" y="276"/>
                  </a:lnTo>
                  <a:lnTo>
                    <a:pt x="1753" y="0"/>
                  </a:lnTo>
                  <a:lnTo>
                    <a:pt x="1789" y="0"/>
                  </a:lnTo>
                  <a:cubicBezTo>
                    <a:pt x="1808" y="0"/>
                    <a:pt x="1821" y="7"/>
                    <a:pt x="1831" y="22"/>
                  </a:cubicBezTo>
                  <a:cubicBezTo>
                    <a:pt x="1839" y="35"/>
                    <a:pt x="1915" y="154"/>
                    <a:pt x="1915" y="154"/>
                  </a:cubicBezTo>
                  <a:cubicBezTo>
                    <a:pt x="1915" y="154"/>
                    <a:pt x="1912" y="146"/>
                    <a:pt x="1912" y="125"/>
                  </a:cubicBezTo>
                  <a:lnTo>
                    <a:pt x="1912" y="0"/>
                  </a:lnTo>
                  <a:lnTo>
                    <a:pt x="1979" y="0"/>
                  </a:lnTo>
                  <a:lnTo>
                    <a:pt x="1979" y="0"/>
                  </a:lnTo>
                  <a:close/>
                  <a:moveTo>
                    <a:pt x="912" y="0"/>
                  </a:moveTo>
                  <a:lnTo>
                    <a:pt x="912" y="0"/>
                  </a:lnTo>
                  <a:lnTo>
                    <a:pt x="912" y="261"/>
                  </a:lnTo>
                  <a:cubicBezTo>
                    <a:pt x="912" y="269"/>
                    <a:pt x="906" y="276"/>
                    <a:pt x="898" y="276"/>
                  </a:cubicBezTo>
                  <a:lnTo>
                    <a:pt x="852" y="276"/>
                  </a:lnTo>
                  <a:lnTo>
                    <a:pt x="752" y="117"/>
                  </a:lnTo>
                  <a:cubicBezTo>
                    <a:pt x="752" y="117"/>
                    <a:pt x="754" y="131"/>
                    <a:pt x="754" y="147"/>
                  </a:cubicBezTo>
                  <a:lnTo>
                    <a:pt x="754" y="276"/>
                  </a:lnTo>
                  <a:lnTo>
                    <a:pt x="698" y="276"/>
                  </a:lnTo>
                  <a:lnTo>
                    <a:pt x="698" y="0"/>
                  </a:lnTo>
                  <a:lnTo>
                    <a:pt x="734" y="0"/>
                  </a:lnTo>
                  <a:cubicBezTo>
                    <a:pt x="753" y="0"/>
                    <a:pt x="766" y="7"/>
                    <a:pt x="776" y="22"/>
                  </a:cubicBezTo>
                  <a:cubicBezTo>
                    <a:pt x="784" y="35"/>
                    <a:pt x="860" y="154"/>
                    <a:pt x="860" y="154"/>
                  </a:cubicBezTo>
                  <a:cubicBezTo>
                    <a:pt x="860" y="154"/>
                    <a:pt x="857" y="146"/>
                    <a:pt x="857" y="125"/>
                  </a:cubicBezTo>
                  <a:lnTo>
                    <a:pt x="857" y="0"/>
                  </a:lnTo>
                  <a:lnTo>
                    <a:pt x="912" y="0"/>
                  </a:lnTo>
                  <a:lnTo>
                    <a:pt x="912" y="0"/>
                  </a:lnTo>
                  <a:close/>
                  <a:moveTo>
                    <a:pt x="225" y="0"/>
                  </a:moveTo>
                  <a:lnTo>
                    <a:pt x="225" y="0"/>
                  </a:lnTo>
                  <a:lnTo>
                    <a:pt x="151" y="0"/>
                  </a:lnTo>
                  <a:lnTo>
                    <a:pt x="151" y="105"/>
                  </a:lnTo>
                  <a:lnTo>
                    <a:pt x="86" y="105"/>
                  </a:lnTo>
                  <a:lnTo>
                    <a:pt x="86" y="0"/>
                  </a:lnTo>
                  <a:lnTo>
                    <a:pt x="0" y="0"/>
                  </a:lnTo>
                  <a:lnTo>
                    <a:pt x="0" y="10"/>
                  </a:lnTo>
                  <a:cubicBezTo>
                    <a:pt x="0" y="10"/>
                    <a:pt x="11" y="15"/>
                    <a:pt x="11" y="29"/>
                  </a:cubicBezTo>
                  <a:lnTo>
                    <a:pt x="11" y="276"/>
                  </a:lnTo>
                  <a:lnTo>
                    <a:pt x="86" y="276"/>
                  </a:lnTo>
                  <a:lnTo>
                    <a:pt x="86" y="156"/>
                  </a:lnTo>
                  <a:lnTo>
                    <a:pt x="151" y="156"/>
                  </a:lnTo>
                  <a:lnTo>
                    <a:pt x="151" y="276"/>
                  </a:lnTo>
                  <a:lnTo>
                    <a:pt x="225" y="276"/>
                  </a:lnTo>
                  <a:lnTo>
                    <a:pt x="225" y="0"/>
                  </a:lnTo>
                  <a:lnTo>
                    <a:pt x="225" y="0"/>
                  </a:lnTo>
                  <a:close/>
                  <a:moveTo>
                    <a:pt x="466" y="0"/>
                  </a:moveTo>
                  <a:lnTo>
                    <a:pt x="466" y="0"/>
                  </a:lnTo>
                  <a:lnTo>
                    <a:pt x="300" y="0"/>
                  </a:lnTo>
                  <a:lnTo>
                    <a:pt x="300" y="251"/>
                  </a:lnTo>
                  <a:cubicBezTo>
                    <a:pt x="300" y="265"/>
                    <a:pt x="314" y="276"/>
                    <a:pt x="328" y="276"/>
                  </a:cubicBezTo>
                  <a:lnTo>
                    <a:pt x="466" y="276"/>
                  </a:lnTo>
                  <a:cubicBezTo>
                    <a:pt x="474" y="276"/>
                    <a:pt x="481" y="269"/>
                    <a:pt x="481" y="261"/>
                  </a:cubicBezTo>
                  <a:lnTo>
                    <a:pt x="481" y="225"/>
                  </a:lnTo>
                  <a:lnTo>
                    <a:pt x="386" y="225"/>
                  </a:lnTo>
                  <a:cubicBezTo>
                    <a:pt x="379" y="225"/>
                    <a:pt x="374" y="220"/>
                    <a:pt x="374" y="214"/>
                  </a:cubicBezTo>
                  <a:lnTo>
                    <a:pt x="374" y="156"/>
                  </a:lnTo>
                  <a:lnTo>
                    <a:pt x="459" y="156"/>
                  </a:lnTo>
                  <a:lnTo>
                    <a:pt x="459" y="105"/>
                  </a:lnTo>
                  <a:lnTo>
                    <a:pt x="374" y="105"/>
                  </a:lnTo>
                  <a:lnTo>
                    <a:pt x="374" y="50"/>
                  </a:lnTo>
                  <a:lnTo>
                    <a:pt x="481" y="50"/>
                  </a:lnTo>
                  <a:lnTo>
                    <a:pt x="481" y="14"/>
                  </a:lnTo>
                  <a:cubicBezTo>
                    <a:pt x="481" y="6"/>
                    <a:pt x="474" y="0"/>
                    <a:pt x="466" y="0"/>
                  </a:cubicBezTo>
                  <a:close/>
                  <a:moveTo>
                    <a:pt x="622" y="0"/>
                  </a:moveTo>
                  <a:lnTo>
                    <a:pt x="622" y="0"/>
                  </a:lnTo>
                  <a:lnTo>
                    <a:pt x="548" y="0"/>
                  </a:lnTo>
                  <a:lnTo>
                    <a:pt x="548" y="261"/>
                  </a:lnTo>
                  <a:cubicBezTo>
                    <a:pt x="548" y="269"/>
                    <a:pt x="555" y="276"/>
                    <a:pt x="563" y="276"/>
                  </a:cubicBezTo>
                  <a:lnTo>
                    <a:pt x="622" y="276"/>
                  </a:lnTo>
                  <a:lnTo>
                    <a:pt x="622" y="0"/>
                  </a:lnTo>
                  <a:lnTo>
                    <a:pt x="622" y="0"/>
                  </a:lnTo>
                  <a:close/>
                  <a:moveTo>
                    <a:pt x="1676" y="0"/>
                  </a:moveTo>
                  <a:lnTo>
                    <a:pt x="1676" y="0"/>
                  </a:lnTo>
                  <a:lnTo>
                    <a:pt x="1510" y="0"/>
                  </a:lnTo>
                  <a:lnTo>
                    <a:pt x="1510" y="251"/>
                  </a:lnTo>
                  <a:cubicBezTo>
                    <a:pt x="1510" y="265"/>
                    <a:pt x="1524" y="276"/>
                    <a:pt x="1538" y="276"/>
                  </a:cubicBezTo>
                  <a:lnTo>
                    <a:pt x="1676" y="276"/>
                  </a:lnTo>
                  <a:cubicBezTo>
                    <a:pt x="1684" y="276"/>
                    <a:pt x="1691" y="269"/>
                    <a:pt x="1691" y="261"/>
                  </a:cubicBezTo>
                  <a:lnTo>
                    <a:pt x="1691" y="225"/>
                  </a:lnTo>
                  <a:lnTo>
                    <a:pt x="1596" y="225"/>
                  </a:lnTo>
                  <a:cubicBezTo>
                    <a:pt x="1589" y="225"/>
                    <a:pt x="1584" y="220"/>
                    <a:pt x="1584" y="214"/>
                  </a:cubicBezTo>
                  <a:lnTo>
                    <a:pt x="1584" y="156"/>
                  </a:lnTo>
                  <a:lnTo>
                    <a:pt x="1669" y="156"/>
                  </a:lnTo>
                  <a:lnTo>
                    <a:pt x="1669" y="105"/>
                  </a:lnTo>
                  <a:lnTo>
                    <a:pt x="1584" y="105"/>
                  </a:lnTo>
                  <a:lnTo>
                    <a:pt x="1584" y="50"/>
                  </a:lnTo>
                  <a:lnTo>
                    <a:pt x="1691" y="50"/>
                  </a:lnTo>
                  <a:lnTo>
                    <a:pt x="1691" y="14"/>
                  </a:lnTo>
                  <a:cubicBezTo>
                    <a:pt x="1691" y="6"/>
                    <a:pt x="1684" y="0"/>
                    <a:pt x="1676" y="0"/>
                  </a:cubicBezTo>
                  <a:close/>
                  <a:moveTo>
                    <a:pt x="1153" y="0"/>
                  </a:moveTo>
                  <a:lnTo>
                    <a:pt x="1153" y="0"/>
                  </a:lnTo>
                  <a:lnTo>
                    <a:pt x="987" y="0"/>
                  </a:lnTo>
                  <a:lnTo>
                    <a:pt x="987" y="251"/>
                  </a:lnTo>
                  <a:cubicBezTo>
                    <a:pt x="987" y="265"/>
                    <a:pt x="1001" y="276"/>
                    <a:pt x="1015" y="276"/>
                  </a:cubicBezTo>
                  <a:lnTo>
                    <a:pt x="1153" y="276"/>
                  </a:lnTo>
                  <a:cubicBezTo>
                    <a:pt x="1161" y="276"/>
                    <a:pt x="1168" y="269"/>
                    <a:pt x="1168" y="261"/>
                  </a:cubicBezTo>
                  <a:lnTo>
                    <a:pt x="1168" y="225"/>
                  </a:lnTo>
                  <a:lnTo>
                    <a:pt x="1073" y="225"/>
                  </a:lnTo>
                  <a:cubicBezTo>
                    <a:pt x="1067" y="225"/>
                    <a:pt x="1062" y="220"/>
                    <a:pt x="1062" y="214"/>
                  </a:cubicBezTo>
                  <a:lnTo>
                    <a:pt x="1062" y="156"/>
                  </a:lnTo>
                  <a:lnTo>
                    <a:pt x="1146" y="156"/>
                  </a:lnTo>
                  <a:lnTo>
                    <a:pt x="1146" y="105"/>
                  </a:lnTo>
                  <a:lnTo>
                    <a:pt x="1062" y="105"/>
                  </a:lnTo>
                  <a:lnTo>
                    <a:pt x="1062" y="50"/>
                  </a:lnTo>
                  <a:lnTo>
                    <a:pt x="1168" y="50"/>
                  </a:lnTo>
                  <a:lnTo>
                    <a:pt x="1168" y="14"/>
                  </a:lnTo>
                  <a:cubicBezTo>
                    <a:pt x="1168" y="6"/>
                    <a:pt x="1161" y="0"/>
                    <a:pt x="1153" y="0"/>
                  </a:cubicBezTo>
                  <a:close/>
                  <a:moveTo>
                    <a:pt x="1467" y="0"/>
                  </a:moveTo>
                  <a:lnTo>
                    <a:pt x="1467" y="0"/>
                  </a:lnTo>
                  <a:lnTo>
                    <a:pt x="1414" y="0"/>
                  </a:lnTo>
                  <a:cubicBezTo>
                    <a:pt x="1401" y="0"/>
                    <a:pt x="1391" y="3"/>
                    <a:pt x="1381" y="15"/>
                  </a:cubicBezTo>
                  <a:cubicBezTo>
                    <a:pt x="1370" y="26"/>
                    <a:pt x="1305" y="102"/>
                    <a:pt x="1305" y="102"/>
                  </a:cubicBezTo>
                  <a:lnTo>
                    <a:pt x="1305" y="0"/>
                  </a:lnTo>
                  <a:lnTo>
                    <a:pt x="1231" y="0"/>
                  </a:lnTo>
                  <a:lnTo>
                    <a:pt x="1231" y="261"/>
                  </a:lnTo>
                  <a:cubicBezTo>
                    <a:pt x="1231" y="269"/>
                    <a:pt x="1237" y="276"/>
                    <a:pt x="1245" y="276"/>
                  </a:cubicBezTo>
                  <a:lnTo>
                    <a:pt x="1305" y="276"/>
                  </a:lnTo>
                  <a:lnTo>
                    <a:pt x="1305" y="150"/>
                  </a:lnTo>
                  <a:cubicBezTo>
                    <a:pt x="1305" y="150"/>
                    <a:pt x="1361" y="238"/>
                    <a:pt x="1370" y="253"/>
                  </a:cubicBezTo>
                  <a:cubicBezTo>
                    <a:pt x="1380" y="268"/>
                    <a:pt x="1390" y="276"/>
                    <a:pt x="1412" y="276"/>
                  </a:cubicBezTo>
                  <a:lnTo>
                    <a:pt x="1473" y="276"/>
                  </a:lnTo>
                  <a:lnTo>
                    <a:pt x="1369" y="113"/>
                  </a:lnTo>
                  <a:lnTo>
                    <a:pt x="1467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9">
              <a:extLst>
                <a:ext uri="{FF2B5EF4-FFF2-40B4-BE49-F238E27FC236}">
                  <a16:creationId xmlns:a16="http://schemas.microsoft.com/office/drawing/2014/main" id="{572917E8-0B37-45EA-9D28-B026CFDB57A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31" y="3689"/>
              <a:ext cx="68" cy="114"/>
            </a:xfrm>
            <a:custGeom>
              <a:avLst/>
              <a:gdLst>
                <a:gd name="T0" fmla="*/ 25 w 113"/>
                <a:gd name="T1" fmla="*/ 98 h 190"/>
                <a:gd name="T2" fmla="*/ 25 w 113"/>
                <a:gd name="T3" fmla="*/ 98 h 190"/>
                <a:gd name="T4" fmla="*/ 42 w 113"/>
                <a:gd name="T5" fmla="*/ 98 h 190"/>
                <a:gd name="T6" fmla="*/ 87 w 113"/>
                <a:gd name="T7" fmla="*/ 58 h 190"/>
                <a:gd name="T8" fmla="*/ 40 w 113"/>
                <a:gd name="T9" fmla="*/ 19 h 190"/>
                <a:gd name="T10" fmla="*/ 25 w 113"/>
                <a:gd name="T11" fmla="*/ 19 h 190"/>
                <a:gd name="T12" fmla="*/ 25 w 113"/>
                <a:gd name="T13" fmla="*/ 98 h 190"/>
                <a:gd name="T14" fmla="*/ 25 w 113"/>
                <a:gd name="T15" fmla="*/ 98 h 190"/>
                <a:gd name="T16" fmla="*/ 42 w 113"/>
                <a:gd name="T17" fmla="*/ 118 h 190"/>
                <a:gd name="T18" fmla="*/ 42 w 113"/>
                <a:gd name="T19" fmla="*/ 118 h 190"/>
                <a:gd name="T20" fmla="*/ 25 w 113"/>
                <a:gd name="T21" fmla="*/ 118 h 190"/>
                <a:gd name="T22" fmla="*/ 25 w 113"/>
                <a:gd name="T23" fmla="*/ 184 h 190"/>
                <a:gd name="T24" fmla="*/ 20 w 113"/>
                <a:gd name="T25" fmla="*/ 190 h 190"/>
                <a:gd name="T26" fmla="*/ 5 w 113"/>
                <a:gd name="T27" fmla="*/ 190 h 190"/>
                <a:gd name="T28" fmla="*/ 0 w 113"/>
                <a:gd name="T29" fmla="*/ 184 h 190"/>
                <a:gd name="T30" fmla="*/ 0 w 113"/>
                <a:gd name="T31" fmla="*/ 6 h 190"/>
                <a:gd name="T32" fmla="*/ 5 w 113"/>
                <a:gd name="T33" fmla="*/ 0 h 190"/>
                <a:gd name="T34" fmla="*/ 41 w 113"/>
                <a:gd name="T35" fmla="*/ 0 h 190"/>
                <a:gd name="T36" fmla="*/ 113 w 113"/>
                <a:gd name="T37" fmla="*/ 58 h 190"/>
                <a:gd name="T38" fmla="*/ 42 w 113"/>
                <a:gd name="T39" fmla="*/ 11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3" h="190">
                  <a:moveTo>
                    <a:pt x="25" y="98"/>
                  </a:moveTo>
                  <a:lnTo>
                    <a:pt x="25" y="98"/>
                  </a:lnTo>
                  <a:lnTo>
                    <a:pt x="42" y="98"/>
                  </a:lnTo>
                  <a:cubicBezTo>
                    <a:pt x="69" y="98"/>
                    <a:pt x="87" y="89"/>
                    <a:pt x="87" y="58"/>
                  </a:cubicBezTo>
                  <a:cubicBezTo>
                    <a:pt x="87" y="28"/>
                    <a:pt x="67" y="19"/>
                    <a:pt x="40" y="19"/>
                  </a:cubicBezTo>
                  <a:lnTo>
                    <a:pt x="25" y="19"/>
                  </a:lnTo>
                  <a:lnTo>
                    <a:pt x="25" y="98"/>
                  </a:lnTo>
                  <a:lnTo>
                    <a:pt x="25" y="98"/>
                  </a:lnTo>
                  <a:close/>
                  <a:moveTo>
                    <a:pt x="42" y="118"/>
                  </a:moveTo>
                  <a:lnTo>
                    <a:pt x="42" y="118"/>
                  </a:lnTo>
                  <a:lnTo>
                    <a:pt x="25" y="118"/>
                  </a:lnTo>
                  <a:lnTo>
                    <a:pt x="25" y="184"/>
                  </a:lnTo>
                  <a:cubicBezTo>
                    <a:pt x="25" y="188"/>
                    <a:pt x="24" y="190"/>
                    <a:pt x="20" y="190"/>
                  </a:cubicBezTo>
                  <a:lnTo>
                    <a:pt x="5" y="190"/>
                  </a:lnTo>
                  <a:cubicBezTo>
                    <a:pt x="1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41" y="0"/>
                  </a:lnTo>
                  <a:cubicBezTo>
                    <a:pt x="82" y="0"/>
                    <a:pt x="113" y="15"/>
                    <a:pt x="113" y="58"/>
                  </a:cubicBezTo>
                  <a:cubicBezTo>
                    <a:pt x="113" y="100"/>
                    <a:pt x="83" y="118"/>
                    <a:pt x="42" y="11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20">
              <a:extLst>
                <a:ext uri="{FF2B5EF4-FFF2-40B4-BE49-F238E27FC236}">
                  <a16:creationId xmlns:a16="http://schemas.microsoft.com/office/drawing/2014/main" id="{D1F2941F-9C26-4BFD-9553-115FCA10577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026" y="3689"/>
              <a:ext cx="74" cy="114"/>
            </a:xfrm>
            <a:custGeom>
              <a:avLst/>
              <a:gdLst>
                <a:gd name="T0" fmla="*/ 25 w 123"/>
                <a:gd name="T1" fmla="*/ 93 h 190"/>
                <a:gd name="T2" fmla="*/ 25 w 123"/>
                <a:gd name="T3" fmla="*/ 93 h 190"/>
                <a:gd name="T4" fmla="*/ 46 w 123"/>
                <a:gd name="T5" fmla="*/ 93 h 190"/>
                <a:gd name="T6" fmla="*/ 88 w 123"/>
                <a:gd name="T7" fmla="*/ 56 h 190"/>
                <a:gd name="T8" fmla="*/ 43 w 123"/>
                <a:gd name="T9" fmla="*/ 19 h 190"/>
                <a:gd name="T10" fmla="*/ 25 w 123"/>
                <a:gd name="T11" fmla="*/ 19 h 190"/>
                <a:gd name="T12" fmla="*/ 25 w 123"/>
                <a:gd name="T13" fmla="*/ 93 h 190"/>
                <a:gd name="T14" fmla="*/ 25 w 123"/>
                <a:gd name="T15" fmla="*/ 93 h 190"/>
                <a:gd name="T16" fmla="*/ 25 w 123"/>
                <a:gd name="T17" fmla="*/ 184 h 190"/>
                <a:gd name="T18" fmla="*/ 25 w 123"/>
                <a:gd name="T19" fmla="*/ 184 h 190"/>
                <a:gd name="T20" fmla="*/ 20 w 123"/>
                <a:gd name="T21" fmla="*/ 190 h 190"/>
                <a:gd name="T22" fmla="*/ 5 w 123"/>
                <a:gd name="T23" fmla="*/ 190 h 190"/>
                <a:gd name="T24" fmla="*/ 0 w 123"/>
                <a:gd name="T25" fmla="*/ 184 h 190"/>
                <a:gd name="T26" fmla="*/ 0 w 123"/>
                <a:gd name="T27" fmla="*/ 6 h 190"/>
                <a:gd name="T28" fmla="*/ 5 w 123"/>
                <a:gd name="T29" fmla="*/ 0 h 190"/>
                <a:gd name="T30" fmla="*/ 45 w 123"/>
                <a:gd name="T31" fmla="*/ 0 h 190"/>
                <a:gd name="T32" fmla="*/ 114 w 123"/>
                <a:gd name="T33" fmla="*/ 55 h 190"/>
                <a:gd name="T34" fmla="*/ 76 w 123"/>
                <a:gd name="T35" fmla="*/ 108 h 190"/>
                <a:gd name="T36" fmla="*/ 121 w 123"/>
                <a:gd name="T37" fmla="*/ 184 h 190"/>
                <a:gd name="T38" fmla="*/ 117 w 123"/>
                <a:gd name="T39" fmla="*/ 190 h 190"/>
                <a:gd name="T40" fmla="*/ 102 w 123"/>
                <a:gd name="T41" fmla="*/ 190 h 190"/>
                <a:gd name="T42" fmla="*/ 93 w 123"/>
                <a:gd name="T43" fmla="*/ 185 h 190"/>
                <a:gd name="T44" fmla="*/ 52 w 123"/>
                <a:gd name="T45" fmla="*/ 113 h 190"/>
                <a:gd name="T46" fmla="*/ 25 w 123"/>
                <a:gd name="T47" fmla="*/ 113 h 190"/>
                <a:gd name="T48" fmla="*/ 25 w 123"/>
                <a:gd name="T49" fmla="*/ 18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90">
                  <a:moveTo>
                    <a:pt x="25" y="93"/>
                  </a:moveTo>
                  <a:lnTo>
                    <a:pt x="25" y="93"/>
                  </a:lnTo>
                  <a:lnTo>
                    <a:pt x="46" y="93"/>
                  </a:lnTo>
                  <a:cubicBezTo>
                    <a:pt x="71" y="93"/>
                    <a:pt x="88" y="80"/>
                    <a:pt x="88" y="56"/>
                  </a:cubicBezTo>
                  <a:cubicBezTo>
                    <a:pt x="88" y="29"/>
                    <a:pt x="71" y="19"/>
                    <a:pt x="43" y="19"/>
                  </a:cubicBezTo>
                  <a:lnTo>
                    <a:pt x="25" y="19"/>
                  </a:lnTo>
                  <a:lnTo>
                    <a:pt x="25" y="93"/>
                  </a:lnTo>
                  <a:lnTo>
                    <a:pt x="25" y="93"/>
                  </a:lnTo>
                  <a:close/>
                  <a:moveTo>
                    <a:pt x="25" y="184"/>
                  </a:moveTo>
                  <a:lnTo>
                    <a:pt x="25" y="184"/>
                  </a:lnTo>
                  <a:cubicBezTo>
                    <a:pt x="25" y="188"/>
                    <a:pt x="24" y="190"/>
                    <a:pt x="20" y="190"/>
                  </a:cubicBezTo>
                  <a:lnTo>
                    <a:pt x="5" y="190"/>
                  </a:lnTo>
                  <a:cubicBezTo>
                    <a:pt x="1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45" y="0"/>
                  </a:lnTo>
                  <a:cubicBezTo>
                    <a:pt x="86" y="0"/>
                    <a:pt x="114" y="14"/>
                    <a:pt x="114" y="55"/>
                  </a:cubicBezTo>
                  <a:cubicBezTo>
                    <a:pt x="114" y="82"/>
                    <a:pt x="97" y="101"/>
                    <a:pt x="76" y="108"/>
                  </a:cubicBezTo>
                  <a:lnTo>
                    <a:pt x="121" y="184"/>
                  </a:lnTo>
                  <a:cubicBezTo>
                    <a:pt x="123" y="186"/>
                    <a:pt x="122" y="190"/>
                    <a:pt x="117" y="190"/>
                  </a:cubicBezTo>
                  <a:lnTo>
                    <a:pt x="102" y="190"/>
                  </a:lnTo>
                  <a:cubicBezTo>
                    <a:pt x="97" y="190"/>
                    <a:pt x="95" y="188"/>
                    <a:pt x="93" y="185"/>
                  </a:cubicBezTo>
                  <a:lnTo>
                    <a:pt x="52" y="113"/>
                  </a:lnTo>
                  <a:lnTo>
                    <a:pt x="25" y="113"/>
                  </a:lnTo>
                  <a:lnTo>
                    <a:pt x="25" y="1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79B43050-94E8-453F-83A0-46395BF26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120" y="3687"/>
              <a:ext cx="96" cy="118"/>
            </a:xfrm>
            <a:custGeom>
              <a:avLst/>
              <a:gdLst>
                <a:gd name="T0" fmla="*/ 80 w 159"/>
                <a:gd name="T1" fmla="*/ 22 h 197"/>
                <a:gd name="T2" fmla="*/ 80 w 159"/>
                <a:gd name="T3" fmla="*/ 22 h 197"/>
                <a:gd name="T4" fmla="*/ 27 w 159"/>
                <a:gd name="T5" fmla="*/ 99 h 197"/>
                <a:gd name="T6" fmla="*/ 79 w 159"/>
                <a:gd name="T7" fmla="*/ 176 h 197"/>
                <a:gd name="T8" fmla="*/ 132 w 159"/>
                <a:gd name="T9" fmla="*/ 98 h 197"/>
                <a:gd name="T10" fmla="*/ 80 w 159"/>
                <a:gd name="T11" fmla="*/ 22 h 197"/>
                <a:gd name="T12" fmla="*/ 80 w 159"/>
                <a:gd name="T13" fmla="*/ 22 h 197"/>
                <a:gd name="T14" fmla="*/ 78 w 159"/>
                <a:gd name="T15" fmla="*/ 197 h 197"/>
                <a:gd name="T16" fmla="*/ 78 w 159"/>
                <a:gd name="T17" fmla="*/ 197 h 197"/>
                <a:gd name="T18" fmla="*/ 0 w 159"/>
                <a:gd name="T19" fmla="*/ 99 h 197"/>
                <a:gd name="T20" fmla="*/ 81 w 159"/>
                <a:gd name="T21" fmla="*/ 0 h 197"/>
                <a:gd name="T22" fmla="*/ 159 w 159"/>
                <a:gd name="T23" fmla="*/ 97 h 197"/>
                <a:gd name="T24" fmla="*/ 78 w 159"/>
                <a:gd name="T2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9" h="197">
                  <a:moveTo>
                    <a:pt x="80" y="22"/>
                  </a:moveTo>
                  <a:lnTo>
                    <a:pt x="80" y="22"/>
                  </a:lnTo>
                  <a:cubicBezTo>
                    <a:pt x="49" y="22"/>
                    <a:pt x="27" y="53"/>
                    <a:pt x="27" y="99"/>
                  </a:cubicBezTo>
                  <a:cubicBezTo>
                    <a:pt x="27" y="147"/>
                    <a:pt x="46" y="176"/>
                    <a:pt x="79" y="176"/>
                  </a:cubicBezTo>
                  <a:cubicBezTo>
                    <a:pt x="111" y="176"/>
                    <a:pt x="132" y="146"/>
                    <a:pt x="132" y="98"/>
                  </a:cubicBezTo>
                  <a:cubicBezTo>
                    <a:pt x="132" y="50"/>
                    <a:pt x="114" y="22"/>
                    <a:pt x="80" y="22"/>
                  </a:cubicBezTo>
                  <a:lnTo>
                    <a:pt x="80" y="22"/>
                  </a:lnTo>
                  <a:close/>
                  <a:moveTo>
                    <a:pt x="78" y="197"/>
                  </a:moveTo>
                  <a:lnTo>
                    <a:pt x="78" y="197"/>
                  </a:lnTo>
                  <a:cubicBezTo>
                    <a:pt x="29" y="197"/>
                    <a:pt x="0" y="160"/>
                    <a:pt x="0" y="99"/>
                  </a:cubicBezTo>
                  <a:cubicBezTo>
                    <a:pt x="0" y="40"/>
                    <a:pt x="33" y="0"/>
                    <a:pt x="81" y="0"/>
                  </a:cubicBezTo>
                  <a:cubicBezTo>
                    <a:pt x="132" y="0"/>
                    <a:pt x="159" y="40"/>
                    <a:pt x="159" y="97"/>
                  </a:cubicBezTo>
                  <a:cubicBezTo>
                    <a:pt x="159" y="160"/>
                    <a:pt x="124" y="197"/>
                    <a:pt x="78" y="19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18630B01-C667-44EA-9A1D-E25FFE8724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40" y="3687"/>
              <a:ext cx="87" cy="118"/>
            </a:xfrm>
            <a:custGeom>
              <a:avLst/>
              <a:gdLst>
                <a:gd name="T0" fmla="*/ 131 w 143"/>
                <a:gd name="T1" fmla="*/ 166 h 197"/>
                <a:gd name="T2" fmla="*/ 131 w 143"/>
                <a:gd name="T3" fmla="*/ 166 h 197"/>
                <a:gd name="T4" fmla="*/ 138 w 143"/>
                <a:gd name="T5" fmla="*/ 169 h 197"/>
                <a:gd name="T6" fmla="*/ 141 w 143"/>
                <a:gd name="T7" fmla="*/ 177 h 197"/>
                <a:gd name="T8" fmla="*/ 138 w 143"/>
                <a:gd name="T9" fmla="*/ 185 h 197"/>
                <a:gd name="T10" fmla="*/ 85 w 143"/>
                <a:gd name="T11" fmla="*/ 197 h 197"/>
                <a:gd name="T12" fmla="*/ 0 w 143"/>
                <a:gd name="T13" fmla="*/ 99 h 197"/>
                <a:gd name="T14" fmla="*/ 87 w 143"/>
                <a:gd name="T15" fmla="*/ 0 h 197"/>
                <a:gd name="T16" fmla="*/ 138 w 143"/>
                <a:gd name="T17" fmla="*/ 13 h 197"/>
                <a:gd name="T18" fmla="*/ 140 w 143"/>
                <a:gd name="T19" fmla="*/ 20 h 197"/>
                <a:gd name="T20" fmla="*/ 135 w 143"/>
                <a:gd name="T21" fmla="*/ 30 h 197"/>
                <a:gd name="T22" fmla="*/ 129 w 143"/>
                <a:gd name="T23" fmla="*/ 32 h 197"/>
                <a:gd name="T24" fmla="*/ 89 w 143"/>
                <a:gd name="T25" fmla="*/ 21 h 197"/>
                <a:gd name="T26" fmla="*/ 28 w 143"/>
                <a:gd name="T27" fmla="*/ 97 h 197"/>
                <a:gd name="T28" fmla="*/ 89 w 143"/>
                <a:gd name="T29" fmla="*/ 176 h 197"/>
                <a:gd name="T30" fmla="*/ 131 w 143"/>
                <a:gd name="T31" fmla="*/ 16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3" h="197">
                  <a:moveTo>
                    <a:pt x="131" y="166"/>
                  </a:moveTo>
                  <a:lnTo>
                    <a:pt x="131" y="166"/>
                  </a:lnTo>
                  <a:cubicBezTo>
                    <a:pt x="135" y="165"/>
                    <a:pt x="137" y="165"/>
                    <a:pt x="138" y="169"/>
                  </a:cubicBezTo>
                  <a:lnTo>
                    <a:pt x="141" y="177"/>
                  </a:lnTo>
                  <a:cubicBezTo>
                    <a:pt x="143" y="181"/>
                    <a:pt x="142" y="183"/>
                    <a:pt x="138" y="185"/>
                  </a:cubicBezTo>
                  <a:cubicBezTo>
                    <a:pt x="121" y="193"/>
                    <a:pt x="104" y="197"/>
                    <a:pt x="85" y="197"/>
                  </a:cubicBezTo>
                  <a:cubicBezTo>
                    <a:pt x="27" y="197"/>
                    <a:pt x="0" y="153"/>
                    <a:pt x="0" y="99"/>
                  </a:cubicBezTo>
                  <a:cubicBezTo>
                    <a:pt x="0" y="46"/>
                    <a:pt x="32" y="0"/>
                    <a:pt x="87" y="0"/>
                  </a:cubicBezTo>
                  <a:cubicBezTo>
                    <a:pt x="105" y="0"/>
                    <a:pt x="122" y="4"/>
                    <a:pt x="138" y="13"/>
                  </a:cubicBezTo>
                  <a:cubicBezTo>
                    <a:pt x="141" y="14"/>
                    <a:pt x="142" y="17"/>
                    <a:pt x="140" y="20"/>
                  </a:cubicBezTo>
                  <a:lnTo>
                    <a:pt x="135" y="30"/>
                  </a:lnTo>
                  <a:cubicBezTo>
                    <a:pt x="134" y="32"/>
                    <a:pt x="132" y="33"/>
                    <a:pt x="129" y="32"/>
                  </a:cubicBezTo>
                  <a:cubicBezTo>
                    <a:pt x="115" y="24"/>
                    <a:pt x="103" y="21"/>
                    <a:pt x="89" y="21"/>
                  </a:cubicBezTo>
                  <a:cubicBezTo>
                    <a:pt x="47" y="21"/>
                    <a:pt x="28" y="59"/>
                    <a:pt x="28" y="97"/>
                  </a:cubicBezTo>
                  <a:cubicBezTo>
                    <a:pt x="28" y="139"/>
                    <a:pt x="46" y="176"/>
                    <a:pt x="89" y="176"/>
                  </a:cubicBezTo>
                  <a:cubicBezTo>
                    <a:pt x="103" y="176"/>
                    <a:pt x="118" y="173"/>
                    <a:pt x="131" y="16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3">
              <a:extLst>
                <a:ext uri="{FF2B5EF4-FFF2-40B4-BE49-F238E27FC236}">
                  <a16:creationId xmlns:a16="http://schemas.microsoft.com/office/drawing/2014/main" id="{C8C69E96-3F22-49FB-9403-42A0671EEE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1" y="3689"/>
              <a:ext cx="91" cy="116"/>
            </a:xfrm>
            <a:custGeom>
              <a:avLst/>
              <a:gdLst>
                <a:gd name="T0" fmla="*/ 151 w 151"/>
                <a:gd name="T1" fmla="*/ 107 h 193"/>
                <a:gd name="T2" fmla="*/ 151 w 151"/>
                <a:gd name="T3" fmla="*/ 107 h 193"/>
                <a:gd name="T4" fmla="*/ 76 w 151"/>
                <a:gd name="T5" fmla="*/ 193 h 193"/>
                <a:gd name="T6" fmla="*/ 0 w 151"/>
                <a:gd name="T7" fmla="*/ 105 h 193"/>
                <a:gd name="T8" fmla="*/ 0 w 151"/>
                <a:gd name="T9" fmla="*/ 5 h 193"/>
                <a:gd name="T10" fmla="*/ 5 w 151"/>
                <a:gd name="T11" fmla="*/ 0 h 193"/>
                <a:gd name="T12" fmla="*/ 20 w 151"/>
                <a:gd name="T13" fmla="*/ 0 h 193"/>
                <a:gd name="T14" fmla="*/ 25 w 151"/>
                <a:gd name="T15" fmla="*/ 5 h 193"/>
                <a:gd name="T16" fmla="*/ 25 w 151"/>
                <a:gd name="T17" fmla="*/ 103 h 193"/>
                <a:gd name="T18" fmla="*/ 76 w 151"/>
                <a:gd name="T19" fmla="*/ 171 h 193"/>
                <a:gd name="T20" fmla="*/ 126 w 151"/>
                <a:gd name="T21" fmla="*/ 102 h 193"/>
                <a:gd name="T22" fmla="*/ 126 w 151"/>
                <a:gd name="T23" fmla="*/ 5 h 193"/>
                <a:gd name="T24" fmla="*/ 131 w 151"/>
                <a:gd name="T25" fmla="*/ 0 h 193"/>
                <a:gd name="T26" fmla="*/ 146 w 151"/>
                <a:gd name="T27" fmla="*/ 0 h 193"/>
                <a:gd name="T28" fmla="*/ 151 w 151"/>
                <a:gd name="T29" fmla="*/ 5 h 193"/>
                <a:gd name="T30" fmla="*/ 151 w 151"/>
                <a:gd name="T31" fmla="*/ 10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1" h="193">
                  <a:moveTo>
                    <a:pt x="151" y="107"/>
                  </a:moveTo>
                  <a:lnTo>
                    <a:pt x="151" y="107"/>
                  </a:lnTo>
                  <a:cubicBezTo>
                    <a:pt x="151" y="157"/>
                    <a:pt x="130" y="193"/>
                    <a:pt x="76" y="193"/>
                  </a:cubicBezTo>
                  <a:cubicBezTo>
                    <a:pt x="16" y="193"/>
                    <a:pt x="0" y="159"/>
                    <a:pt x="0" y="105"/>
                  </a:cubicBezTo>
                  <a:lnTo>
                    <a:pt x="0" y="5"/>
                  </a:lnTo>
                  <a:cubicBezTo>
                    <a:pt x="0" y="2"/>
                    <a:pt x="1" y="0"/>
                    <a:pt x="5" y="0"/>
                  </a:cubicBezTo>
                  <a:lnTo>
                    <a:pt x="20" y="0"/>
                  </a:lnTo>
                  <a:cubicBezTo>
                    <a:pt x="24" y="0"/>
                    <a:pt x="25" y="1"/>
                    <a:pt x="25" y="5"/>
                  </a:cubicBezTo>
                  <a:lnTo>
                    <a:pt x="25" y="103"/>
                  </a:lnTo>
                  <a:cubicBezTo>
                    <a:pt x="25" y="140"/>
                    <a:pt x="30" y="171"/>
                    <a:pt x="76" y="171"/>
                  </a:cubicBezTo>
                  <a:cubicBezTo>
                    <a:pt x="120" y="171"/>
                    <a:pt x="126" y="138"/>
                    <a:pt x="126" y="102"/>
                  </a:cubicBezTo>
                  <a:lnTo>
                    <a:pt x="126" y="5"/>
                  </a:lnTo>
                  <a:cubicBezTo>
                    <a:pt x="126" y="2"/>
                    <a:pt x="127" y="0"/>
                    <a:pt x="131" y="0"/>
                  </a:cubicBezTo>
                  <a:lnTo>
                    <a:pt x="146" y="0"/>
                  </a:lnTo>
                  <a:cubicBezTo>
                    <a:pt x="150" y="0"/>
                    <a:pt x="151" y="1"/>
                    <a:pt x="151" y="5"/>
                  </a:cubicBezTo>
                  <a:lnTo>
                    <a:pt x="151" y="10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1999CAD2-AE9C-46C9-BF7A-1AA0C5393B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476" y="3689"/>
              <a:ext cx="74" cy="114"/>
            </a:xfrm>
            <a:custGeom>
              <a:avLst/>
              <a:gdLst>
                <a:gd name="T0" fmla="*/ 26 w 123"/>
                <a:gd name="T1" fmla="*/ 93 h 190"/>
                <a:gd name="T2" fmla="*/ 26 w 123"/>
                <a:gd name="T3" fmla="*/ 93 h 190"/>
                <a:gd name="T4" fmla="*/ 47 w 123"/>
                <a:gd name="T5" fmla="*/ 93 h 190"/>
                <a:gd name="T6" fmla="*/ 89 w 123"/>
                <a:gd name="T7" fmla="*/ 56 h 190"/>
                <a:gd name="T8" fmla="*/ 43 w 123"/>
                <a:gd name="T9" fmla="*/ 19 h 190"/>
                <a:gd name="T10" fmla="*/ 26 w 123"/>
                <a:gd name="T11" fmla="*/ 19 h 190"/>
                <a:gd name="T12" fmla="*/ 26 w 123"/>
                <a:gd name="T13" fmla="*/ 93 h 190"/>
                <a:gd name="T14" fmla="*/ 26 w 123"/>
                <a:gd name="T15" fmla="*/ 93 h 190"/>
                <a:gd name="T16" fmla="*/ 26 w 123"/>
                <a:gd name="T17" fmla="*/ 184 h 190"/>
                <a:gd name="T18" fmla="*/ 26 w 123"/>
                <a:gd name="T19" fmla="*/ 184 h 190"/>
                <a:gd name="T20" fmla="*/ 21 w 123"/>
                <a:gd name="T21" fmla="*/ 190 h 190"/>
                <a:gd name="T22" fmla="*/ 6 w 123"/>
                <a:gd name="T23" fmla="*/ 190 h 190"/>
                <a:gd name="T24" fmla="*/ 0 w 123"/>
                <a:gd name="T25" fmla="*/ 184 h 190"/>
                <a:gd name="T26" fmla="*/ 0 w 123"/>
                <a:gd name="T27" fmla="*/ 6 h 190"/>
                <a:gd name="T28" fmla="*/ 6 w 123"/>
                <a:gd name="T29" fmla="*/ 0 h 190"/>
                <a:gd name="T30" fmla="*/ 45 w 123"/>
                <a:gd name="T31" fmla="*/ 0 h 190"/>
                <a:gd name="T32" fmla="*/ 115 w 123"/>
                <a:gd name="T33" fmla="*/ 55 h 190"/>
                <a:gd name="T34" fmla="*/ 76 w 123"/>
                <a:gd name="T35" fmla="*/ 108 h 190"/>
                <a:gd name="T36" fmla="*/ 122 w 123"/>
                <a:gd name="T37" fmla="*/ 184 h 190"/>
                <a:gd name="T38" fmla="*/ 118 w 123"/>
                <a:gd name="T39" fmla="*/ 190 h 190"/>
                <a:gd name="T40" fmla="*/ 102 w 123"/>
                <a:gd name="T41" fmla="*/ 190 h 190"/>
                <a:gd name="T42" fmla="*/ 94 w 123"/>
                <a:gd name="T43" fmla="*/ 185 h 190"/>
                <a:gd name="T44" fmla="*/ 52 w 123"/>
                <a:gd name="T45" fmla="*/ 113 h 190"/>
                <a:gd name="T46" fmla="*/ 26 w 123"/>
                <a:gd name="T47" fmla="*/ 113 h 190"/>
                <a:gd name="T48" fmla="*/ 26 w 123"/>
                <a:gd name="T49" fmla="*/ 18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3" h="190">
                  <a:moveTo>
                    <a:pt x="26" y="93"/>
                  </a:moveTo>
                  <a:lnTo>
                    <a:pt x="26" y="93"/>
                  </a:lnTo>
                  <a:lnTo>
                    <a:pt x="47" y="93"/>
                  </a:lnTo>
                  <a:cubicBezTo>
                    <a:pt x="71" y="93"/>
                    <a:pt x="89" y="80"/>
                    <a:pt x="89" y="56"/>
                  </a:cubicBezTo>
                  <a:cubicBezTo>
                    <a:pt x="89" y="29"/>
                    <a:pt x="72" y="19"/>
                    <a:pt x="43" y="19"/>
                  </a:cubicBezTo>
                  <a:lnTo>
                    <a:pt x="26" y="19"/>
                  </a:lnTo>
                  <a:lnTo>
                    <a:pt x="26" y="93"/>
                  </a:lnTo>
                  <a:lnTo>
                    <a:pt x="26" y="93"/>
                  </a:lnTo>
                  <a:close/>
                  <a:moveTo>
                    <a:pt x="26" y="184"/>
                  </a:moveTo>
                  <a:lnTo>
                    <a:pt x="26" y="184"/>
                  </a:lnTo>
                  <a:cubicBezTo>
                    <a:pt x="26" y="188"/>
                    <a:pt x="24" y="190"/>
                    <a:pt x="21" y="190"/>
                  </a:cubicBezTo>
                  <a:lnTo>
                    <a:pt x="6" y="190"/>
                  </a:lnTo>
                  <a:cubicBezTo>
                    <a:pt x="2" y="190"/>
                    <a:pt x="0" y="188"/>
                    <a:pt x="0" y="184"/>
                  </a:cubicBezTo>
                  <a:lnTo>
                    <a:pt x="0" y="6"/>
                  </a:lnTo>
                  <a:cubicBezTo>
                    <a:pt x="0" y="1"/>
                    <a:pt x="2" y="0"/>
                    <a:pt x="6" y="0"/>
                  </a:cubicBezTo>
                  <a:lnTo>
                    <a:pt x="45" y="0"/>
                  </a:lnTo>
                  <a:cubicBezTo>
                    <a:pt x="86" y="0"/>
                    <a:pt x="115" y="14"/>
                    <a:pt x="115" y="55"/>
                  </a:cubicBezTo>
                  <a:cubicBezTo>
                    <a:pt x="115" y="82"/>
                    <a:pt x="98" y="101"/>
                    <a:pt x="76" y="108"/>
                  </a:cubicBezTo>
                  <a:lnTo>
                    <a:pt x="122" y="184"/>
                  </a:lnTo>
                  <a:cubicBezTo>
                    <a:pt x="123" y="186"/>
                    <a:pt x="123" y="190"/>
                    <a:pt x="118" y="190"/>
                  </a:cubicBezTo>
                  <a:lnTo>
                    <a:pt x="102" y="190"/>
                  </a:lnTo>
                  <a:cubicBezTo>
                    <a:pt x="98" y="190"/>
                    <a:pt x="96" y="188"/>
                    <a:pt x="94" y="185"/>
                  </a:cubicBezTo>
                  <a:lnTo>
                    <a:pt x="52" y="113"/>
                  </a:lnTo>
                  <a:lnTo>
                    <a:pt x="26" y="113"/>
                  </a:lnTo>
                  <a:lnTo>
                    <a:pt x="26" y="1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23B54012-F721-473A-81D6-5A306CC123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76" y="3689"/>
              <a:ext cx="66" cy="114"/>
            </a:xfrm>
            <a:custGeom>
              <a:avLst/>
              <a:gdLst>
                <a:gd name="T0" fmla="*/ 26 w 108"/>
                <a:gd name="T1" fmla="*/ 80 h 190"/>
                <a:gd name="T2" fmla="*/ 26 w 108"/>
                <a:gd name="T3" fmla="*/ 80 h 190"/>
                <a:gd name="T4" fmla="*/ 91 w 108"/>
                <a:gd name="T5" fmla="*/ 80 h 190"/>
                <a:gd name="T6" fmla="*/ 96 w 108"/>
                <a:gd name="T7" fmla="*/ 85 h 190"/>
                <a:gd name="T8" fmla="*/ 96 w 108"/>
                <a:gd name="T9" fmla="*/ 96 h 190"/>
                <a:gd name="T10" fmla="*/ 91 w 108"/>
                <a:gd name="T11" fmla="*/ 100 h 190"/>
                <a:gd name="T12" fmla="*/ 26 w 108"/>
                <a:gd name="T13" fmla="*/ 100 h 190"/>
                <a:gd name="T14" fmla="*/ 26 w 108"/>
                <a:gd name="T15" fmla="*/ 159 h 190"/>
                <a:gd name="T16" fmla="*/ 28 w 108"/>
                <a:gd name="T17" fmla="*/ 167 h 190"/>
                <a:gd name="T18" fmla="*/ 36 w 108"/>
                <a:gd name="T19" fmla="*/ 170 h 190"/>
                <a:gd name="T20" fmla="*/ 102 w 108"/>
                <a:gd name="T21" fmla="*/ 170 h 190"/>
                <a:gd name="T22" fmla="*/ 108 w 108"/>
                <a:gd name="T23" fmla="*/ 174 h 190"/>
                <a:gd name="T24" fmla="*/ 108 w 108"/>
                <a:gd name="T25" fmla="*/ 185 h 190"/>
                <a:gd name="T26" fmla="*/ 102 w 108"/>
                <a:gd name="T27" fmla="*/ 190 h 190"/>
                <a:gd name="T28" fmla="*/ 32 w 108"/>
                <a:gd name="T29" fmla="*/ 190 h 190"/>
                <a:gd name="T30" fmla="*/ 7 w 108"/>
                <a:gd name="T31" fmla="*/ 182 h 190"/>
                <a:gd name="T32" fmla="*/ 0 w 108"/>
                <a:gd name="T33" fmla="*/ 159 h 190"/>
                <a:gd name="T34" fmla="*/ 0 w 108"/>
                <a:gd name="T35" fmla="*/ 6 h 190"/>
                <a:gd name="T36" fmla="*/ 6 w 108"/>
                <a:gd name="T37" fmla="*/ 0 h 190"/>
                <a:gd name="T38" fmla="*/ 102 w 108"/>
                <a:gd name="T39" fmla="*/ 0 h 190"/>
                <a:gd name="T40" fmla="*/ 107 w 108"/>
                <a:gd name="T41" fmla="*/ 4 h 190"/>
                <a:gd name="T42" fmla="*/ 105 w 108"/>
                <a:gd name="T43" fmla="*/ 15 h 190"/>
                <a:gd name="T44" fmla="*/ 99 w 108"/>
                <a:gd name="T45" fmla="*/ 20 h 190"/>
                <a:gd name="T46" fmla="*/ 26 w 108"/>
                <a:gd name="T47" fmla="*/ 20 h 190"/>
                <a:gd name="T48" fmla="*/ 26 w 108"/>
                <a:gd name="T49" fmla="*/ 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8" h="190">
                  <a:moveTo>
                    <a:pt x="26" y="80"/>
                  </a:moveTo>
                  <a:lnTo>
                    <a:pt x="26" y="80"/>
                  </a:lnTo>
                  <a:lnTo>
                    <a:pt x="91" y="80"/>
                  </a:lnTo>
                  <a:cubicBezTo>
                    <a:pt x="94" y="80"/>
                    <a:pt x="96" y="81"/>
                    <a:pt x="96" y="85"/>
                  </a:cubicBezTo>
                  <a:lnTo>
                    <a:pt x="96" y="96"/>
                  </a:lnTo>
                  <a:cubicBezTo>
                    <a:pt x="96" y="99"/>
                    <a:pt x="94" y="100"/>
                    <a:pt x="91" y="100"/>
                  </a:cubicBezTo>
                  <a:lnTo>
                    <a:pt x="26" y="100"/>
                  </a:lnTo>
                  <a:lnTo>
                    <a:pt x="26" y="159"/>
                  </a:lnTo>
                  <a:cubicBezTo>
                    <a:pt x="26" y="162"/>
                    <a:pt x="26" y="165"/>
                    <a:pt x="28" y="167"/>
                  </a:cubicBezTo>
                  <a:cubicBezTo>
                    <a:pt x="30" y="169"/>
                    <a:pt x="32" y="170"/>
                    <a:pt x="36" y="170"/>
                  </a:cubicBezTo>
                  <a:lnTo>
                    <a:pt x="102" y="170"/>
                  </a:lnTo>
                  <a:cubicBezTo>
                    <a:pt x="106" y="170"/>
                    <a:pt x="108" y="171"/>
                    <a:pt x="108" y="174"/>
                  </a:cubicBezTo>
                  <a:lnTo>
                    <a:pt x="108" y="185"/>
                  </a:lnTo>
                  <a:cubicBezTo>
                    <a:pt x="108" y="189"/>
                    <a:pt x="106" y="190"/>
                    <a:pt x="102" y="190"/>
                  </a:cubicBezTo>
                  <a:lnTo>
                    <a:pt x="32" y="190"/>
                  </a:lnTo>
                  <a:cubicBezTo>
                    <a:pt x="20" y="190"/>
                    <a:pt x="12" y="187"/>
                    <a:pt x="7" y="182"/>
                  </a:cubicBezTo>
                  <a:cubicBezTo>
                    <a:pt x="2" y="177"/>
                    <a:pt x="0" y="170"/>
                    <a:pt x="0" y="159"/>
                  </a:cubicBezTo>
                  <a:lnTo>
                    <a:pt x="0" y="6"/>
                  </a:lnTo>
                  <a:cubicBezTo>
                    <a:pt x="0" y="1"/>
                    <a:pt x="2" y="0"/>
                    <a:pt x="6" y="0"/>
                  </a:cubicBezTo>
                  <a:lnTo>
                    <a:pt x="102" y="0"/>
                  </a:lnTo>
                  <a:cubicBezTo>
                    <a:pt x="106" y="0"/>
                    <a:pt x="108" y="1"/>
                    <a:pt x="107" y="4"/>
                  </a:cubicBezTo>
                  <a:lnTo>
                    <a:pt x="105" y="15"/>
                  </a:lnTo>
                  <a:cubicBezTo>
                    <a:pt x="105" y="19"/>
                    <a:pt x="103" y="20"/>
                    <a:pt x="99" y="20"/>
                  </a:cubicBezTo>
                  <a:lnTo>
                    <a:pt x="26" y="20"/>
                  </a:lnTo>
                  <a:lnTo>
                    <a:pt x="26" y="8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7BE70A65-F3E2-43CD-B48C-B37DBB04C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69" y="3689"/>
              <a:ext cx="115" cy="114"/>
            </a:xfrm>
            <a:custGeom>
              <a:avLst/>
              <a:gdLst>
                <a:gd name="T0" fmla="*/ 159 w 190"/>
                <a:gd name="T1" fmla="*/ 49 h 190"/>
                <a:gd name="T2" fmla="*/ 159 w 190"/>
                <a:gd name="T3" fmla="*/ 49 h 190"/>
                <a:gd name="T4" fmla="*/ 106 w 190"/>
                <a:gd name="T5" fmla="*/ 186 h 190"/>
                <a:gd name="T6" fmla="*/ 101 w 190"/>
                <a:gd name="T7" fmla="*/ 190 h 190"/>
                <a:gd name="T8" fmla="*/ 91 w 190"/>
                <a:gd name="T9" fmla="*/ 190 h 190"/>
                <a:gd name="T10" fmla="*/ 85 w 190"/>
                <a:gd name="T11" fmla="*/ 186 h 190"/>
                <a:gd name="T12" fmla="*/ 28 w 190"/>
                <a:gd name="T13" fmla="*/ 49 h 190"/>
                <a:gd name="T14" fmla="*/ 28 w 190"/>
                <a:gd name="T15" fmla="*/ 49 h 190"/>
                <a:gd name="T16" fmla="*/ 25 w 190"/>
                <a:gd name="T17" fmla="*/ 185 h 190"/>
                <a:gd name="T18" fmla="*/ 19 w 190"/>
                <a:gd name="T19" fmla="*/ 190 h 190"/>
                <a:gd name="T20" fmla="*/ 6 w 190"/>
                <a:gd name="T21" fmla="*/ 190 h 190"/>
                <a:gd name="T22" fmla="*/ 1 w 190"/>
                <a:gd name="T23" fmla="*/ 185 h 190"/>
                <a:gd name="T24" fmla="*/ 7 w 190"/>
                <a:gd name="T25" fmla="*/ 5 h 190"/>
                <a:gd name="T26" fmla="*/ 12 w 190"/>
                <a:gd name="T27" fmla="*/ 0 h 190"/>
                <a:gd name="T28" fmla="*/ 24 w 190"/>
                <a:gd name="T29" fmla="*/ 0 h 190"/>
                <a:gd name="T30" fmla="*/ 31 w 190"/>
                <a:gd name="T31" fmla="*/ 4 h 190"/>
                <a:gd name="T32" fmla="*/ 97 w 190"/>
                <a:gd name="T33" fmla="*/ 156 h 190"/>
                <a:gd name="T34" fmla="*/ 98 w 190"/>
                <a:gd name="T35" fmla="*/ 156 h 190"/>
                <a:gd name="T36" fmla="*/ 159 w 190"/>
                <a:gd name="T37" fmla="*/ 4 h 190"/>
                <a:gd name="T38" fmla="*/ 165 w 190"/>
                <a:gd name="T39" fmla="*/ 0 h 190"/>
                <a:gd name="T40" fmla="*/ 178 w 190"/>
                <a:gd name="T41" fmla="*/ 0 h 190"/>
                <a:gd name="T42" fmla="*/ 183 w 190"/>
                <a:gd name="T43" fmla="*/ 4 h 190"/>
                <a:gd name="T44" fmla="*/ 190 w 190"/>
                <a:gd name="T45" fmla="*/ 184 h 190"/>
                <a:gd name="T46" fmla="*/ 185 w 190"/>
                <a:gd name="T47" fmla="*/ 190 h 190"/>
                <a:gd name="T48" fmla="*/ 169 w 190"/>
                <a:gd name="T49" fmla="*/ 190 h 190"/>
                <a:gd name="T50" fmla="*/ 164 w 190"/>
                <a:gd name="T51" fmla="*/ 184 h 190"/>
                <a:gd name="T52" fmla="*/ 159 w 190"/>
                <a:gd name="T53" fmla="*/ 49 h 190"/>
                <a:gd name="T54" fmla="*/ 159 w 190"/>
                <a:gd name="T55" fmla="*/ 4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0" h="190">
                  <a:moveTo>
                    <a:pt x="159" y="49"/>
                  </a:moveTo>
                  <a:lnTo>
                    <a:pt x="159" y="49"/>
                  </a:lnTo>
                  <a:lnTo>
                    <a:pt x="106" y="186"/>
                  </a:lnTo>
                  <a:cubicBezTo>
                    <a:pt x="105" y="189"/>
                    <a:pt x="103" y="190"/>
                    <a:pt x="101" y="190"/>
                  </a:cubicBezTo>
                  <a:lnTo>
                    <a:pt x="91" y="190"/>
                  </a:lnTo>
                  <a:cubicBezTo>
                    <a:pt x="89" y="190"/>
                    <a:pt x="87" y="189"/>
                    <a:pt x="85" y="186"/>
                  </a:cubicBezTo>
                  <a:lnTo>
                    <a:pt x="28" y="49"/>
                  </a:lnTo>
                  <a:lnTo>
                    <a:pt x="28" y="49"/>
                  </a:lnTo>
                  <a:lnTo>
                    <a:pt x="25" y="185"/>
                  </a:lnTo>
                  <a:cubicBezTo>
                    <a:pt x="25" y="189"/>
                    <a:pt x="23" y="190"/>
                    <a:pt x="19" y="190"/>
                  </a:cubicBezTo>
                  <a:lnTo>
                    <a:pt x="6" y="190"/>
                  </a:lnTo>
                  <a:cubicBezTo>
                    <a:pt x="2" y="190"/>
                    <a:pt x="0" y="189"/>
                    <a:pt x="1" y="185"/>
                  </a:cubicBezTo>
                  <a:lnTo>
                    <a:pt x="7" y="5"/>
                  </a:lnTo>
                  <a:cubicBezTo>
                    <a:pt x="7" y="1"/>
                    <a:pt x="9" y="0"/>
                    <a:pt x="12" y="0"/>
                  </a:cubicBezTo>
                  <a:lnTo>
                    <a:pt x="24" y="0"/>
                  </a:lnTo>
                  <a:cubicBezTo>
                    <a:pt x="28" y="0"/>
                    <a:pt x="30" y="1"/>
                    <a:pt x="31" y="4"/>
                  </a:cubicBezTo>
                  <a:lnTo>
                    <a:pt x="97" y="156"/>
                  </a:lnTo>
                  <a:lnTo>
                    <a:pt x="98" y="156"/>
                  </a:lnTo>
                  <a:lnTo>
                    <a:pt x="159" y="4"/>
                  </a:lnTo>
                  <a:cubicBezTo>
                    <a:pt x="160" y="1"/>
                    <a:pt x="162" y="0"/>
                    <a:pt x="165" y="0"/>
                  </a:cubicBezTo>
                  <a:lnTo>
                    <a:pt x="178" y="0"/>
                  </a:lnTo>
                  <a:cubicBezTo>
                    <a:pt x="181" y="0"/>
                    <a:pt x="183" y="1"/>
                    <a:pt x="183" y="4"/>
                  </a:cubicBezTo>
                  <a:lnTo>
                    <a:pt x="190" y="184"/>
                  </a:lnTo>
                  <a:cubicBezTo>
                    <a:pt x="190" y="188"/>
                    <a:pt x="189" y="190"/>
                    <a:pt x="185" y="190"/>
                  </a:cubicBezTo>
                  <a:lnTo>
                    <a:pt x="169" y="190"/>
                  </a:lnTo>
                  <a:cubicBezTo>
                    <a:pt x="165" y="190"/>
                    <a:pt x="164" y="188"/>
                    <a:pt x="164" y="184"/>
                  </a:cubicBezTo>
                  <a:lnTo>
                    <a:pt x="159" y="49"/>
                  </a:lnTo>
                  <a:lnTo>
                    <a:pt x="159" y="49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7">
              <a:extLst>
                <a:ext uri="{FF2B5EF4-FFF2-40B4-BE49-F238E27FC236}">
                  <a16:creationId xmlns:a16="http://schemas.microsoft.com/office/drawing/2014/main" id="{3331AA7F-595C-4495-B489-0F4CAB19D9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18" y="3689"/>
              <a:ext cx="64" cy="114"/>
            </a:xfrm>
            <a:custGeom>
              <a:avLst/>
              <a:gdLst>
                <a:gd name="T0" fmla="*/ 25 w 107"/>
                <a:gd name="T1" fmla="*/ 80 h 190"/>
                <a:gd name="T2" fmla="*/ 25 w 107"/>
                <a:gd name="T3" fmla="*/ 80 h 190"/>
                <a:gd name="T4" fmla="*/ 90 w 107"/>
                <a:gd name="T5" fmla="*/ 80 h 190"/>
                <a:gd name="T6" fmla="*/ 96 w 107"/>
                <a:gd name="T7" fmla="*/ 85 h 190"/>
                <a:gd name="T8" fmla="*/ 96 w 107"/>
                <a:gd name="T9" fmla="*/ 96 h 190"/>
                <a:gd name="T10" fmla="*/ 90 w 107"/>
                <a:gd name="T11" fmla="*/ 100 h 190"/>
                <a:gd name="T12" fmla="*/ 25 w 107"/>
                <a:gd name="T13" fmla="*/ 100 h 190"/>
                <a:gd name="T14" fmla="*/ 25 w 107"/>
                <a:gd name="T15" fmla="*/ 159 h 190"/>
                <a:gd name="T16" fmla="*/ 27 w 107"/>
                <a:gd name="T17" fmla="*/ 167 h 190"/>
                <a:gd name="T18" fmla="*/ 36 w 107"/>
                <a:gd name="T19" fmla="*/ 170 h 190"/>
                <a:gd name="T20" fmla="*/ 102 w 107"/>
                <a:gd name="T21" fmla="*/ 170 h 190"/>
                <a:gd name="T22" fmla="*/ 107 w 107"/>
                <a:gd name="T23" fmla="*/ 174 h 190"/>
                <a:gd name="T24" fmla="*/ 107 w 107"/>
                <a:gd name="T25" fmla="*/ 185 h 190"/>
                <a:gd name="T26" fmla="*/ 102 w 107"/>
                <a:gd name="T27" fmla="*/ 190 h 190"/>
                <a:gd name="T28" fmla="*/ 31 w 107"/>
                <a:gd name="T29" fmla="*/ 190 h 190"/>
                <a:gd name="T30" fmla="*/ 6 w 107"/>
                <a:gd name="T31" fmla="*/ 182 h 190"/>
                <a:gd name="T32" fmla="*/ 0 w 107"/>
                <a:gd name="T33" fmla="*/ 159 h 190"/>
                <a:gd name="T34" fmla="*/ 0 w 107"/>
                <a:gd name="T35" fmla="*/ 6 h 190"/>
                <a:gd name="T36" fmla="*/ 5 w 107"/>
                <a:gd name="T37" fmla="*/ 0 h 190"/>
                <a:gd name="T38" fmla="*/ 102 w 107"/>
                <a:gd name="T39" fmla="*/ 0 h 190"/>
                <a:gd name="T40" fmla="*/ 107 w 107"/>
                <a:gd name="T41" fmla="*/ 4 h 190"/>
                <a:gd name="T42" fmla="*/ 105 w 107"/>
                <a:gd name="T43" fmla="*/ 15 h 190"/>
                <a:gd name="T44" fmla="*/ 99 w 107"/>
                <a:gd name="T45" fmla="*/ 20 h 190"/>
                <a:gd name="T46" fmla="*/ 25 w 107"/>
                <a:gd name="T47" fmla="*/ 20 h 190"/>
                <a:gd name="T48" fmla="*/ 25 w 107"/>
                <a:gd name="T49" fmla="*/ 8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190">
                  <a:moveTo>
                    <a:pt x="25" y="80"/>
                  </a:moveTo>
                  <a:lnTo>
                    <a:pt x="25" y="80"/>
                  </a:lnTo>
                  <a:lnTo>
                    <a:pt x="90" y="80"/>
                  </a:lnTo>
                  <a:cubicBezTo>
                    <a:pt x="94" y="80"/>
                    <a:pt x="96" y="81"/>
                    <a:pt x="96" y="85"/>
                  </a:cubicBezTo>
                  <a:lnTo>
                    <a:pt x="96" y="96"/>
                  </a:lnTo>
                  <a:cubicBezTo>
                    <a:pt x="96" y="99"/>
                    <a:pt x="94" y="100"/>
                    <a:pt x="90" y="100"/>
                  </a:cubicBezTo>
                  <a:lnTo>
                    <a:pt x="25" y="100"/>
                  </a:lnTo>
                  <a:lnTo>
                    <a:pt x="25" y="159"/>
                  </a:lnTo>
                  <a:cubicBezTo>
                    <a:pt x="25" y="162"/>
                    <a:pt x="26" y="165"/>
                    <a:pt x="27" y="167"/>
                  </a:cubicBezTo>
                  <a:cubicBezTo>
                    <a:pt x="29" y="169"/>
                    <a:pt x="32" y="170"/>
                    <a:pt x="36" y="170"/>
                  </a:cubicBezTo>
                  <a:lnTo>
                    <a:pt x="102" y="170"/>
                  </a:lnTo>
                  <a:cubicBezTo>
                    <a:pt x="105" y="170"/>
                    <a:pt x="107" y="171"/>
                    <a:pt x="107" y="174"/>
                  </a:cubicBezTo>
                  <a:lnTo>
                    <a:pt x="107" y="185"/>
                  </a:lnTo>
                  <a:cubicBezTo>
                    <a:pt x="107" y="189"/>
                    <a:pt x="105" y="190"/>
                    <a:pt x="102" y="190"/>
                  </a:cubicBezTo>
                  <a:lnTo>
                    <a:pt x="31" y="190"/>
                  </a:lnTo>
                  <a:cubicBezTo>
                    <a:pt x="19" y="190"/>
                    <a:pt x="12" y="187"/>
                    <a:pt x="6" y="182"/>
                  </a:cubicBezTo>
                  <a:cubicBezTo>
                    <a:pt x="2" y="177"/>
                    <a:pt x="0" y="170"/>
                    <a:pt x="0" y="159"/>
                  </a:cubicBezTo>
                  <a:lnTo>
                    <a:pt x="0" y="6"/>
                  </a:lnTo>
                  <a:cubicBezTo>
                    <a:pt x="0" y="1"/>
                    <a:pt x="2" y="0"/>
                    <a:pt x="5" y="0"/>
                  </a:cubicBezTo>
                  <a:lnTo>
                    <a:pt x="102" y="0"/>
                  </a:lnTo>
                  <a:cubicBezTo>
                    <a:pt x="106" y="0"/>
                    <a:pt x="107" y="1"/>
                    <a:pt x="107" y="4"/>
                  </a:cubicBezTo>
                  <a:lnTo>
                    <a:pt x="105" y="15"/>
                  </a:lnTo>
                  <a:cubicBezTo>
                    <a:pt x="104" y="19"/>
                    <a:pt x="103" y="20"/>
                    <a:pt x="99" y="20"/>
                  </a:cubicBezTo>
                  <a:lnTo>
                    <a:pt x="25" y="20"/>
                  </a:lnTo>
                  <a:lnTo>
                    <a:pt x="25" y="8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8">
              <a:extLst>
                <a:ext uri="{FF2B5EF4-FFF2-40B4-BE49-F238E27FC236}">
                  <a16:creationId xmlns:a16="http://schemas.microsoft.com/office/drawing/2014/main" id="{36AC367C-3AAB-40AD-B989-78252D95ED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11" y="3689"/>
              <a:ext cx="90" cy="114"/>
            </a:xfrm>
            <a:custGeom>
              <a:avLst/>
              <a:gdLst>
                <a:gd name="T0" fmla="*/ 126 w 150"/>
                <a:gd name="T1" fmla="*/ 148 h 190"/>
                <a:gd name="T2" fmla="*/ 126 w 150"/>
                <a:gd name="T3" fmla="*/ 148 h 190"/>
                <a:gd name="T4" fmla="*/ 126 w 150"/>
                <a:gd name="T5" fmla="*/ 5 h 190"/>
                <a:gd name="T6" fmla="*/ 131 w 150"/>
                <a:gd name="T7" fmla="*/ 0 h 190"/>
                <a:gd name="T8" fmla="*/ 144 w 150"/>
                <a:gd name="T9" fmla="*/ 0 h 190"/>
                <a:gd name="T10" fmla="*/ 150 w 150"/>
                <a:gd name="T11" fmla="*/ 5 h 190"/>
                <a:gd name="T12" fmla="*/ 150 w 150"/>
                <a:gd name="T13" fmla="*/ 184 h 190"/>
                <a:gd name="T14" fmla="*/ 144 w 150"/>
                <a:gd name="T15" fmla="*/ 190 h 190"/>
                <a:gd name="T16" fmla="*/ 132 w 150"/>
                <a:gd name="T17" fmla="*/ 190 h 190"/>
                <a:gd name="T18" fmla="*/ 123 w 150"/>
                <a:gd name="T19" fmla="*/ 184 h 190"/>
                <a:gd name="T20" fmla="*/ 24 w 150"/>
                <a:gd name="T21" fmla="*/ 44 h 190"/>
                <a:gd name="T22" fmla="*/ 24 w 150"/>
                <a:gd name="T23" fmla="*/ 44 h 190"/>
                <a:gd name="T24" fmla="*/ 24 w 150"/>
                <a:gd name="T25" fmla="*/ 184 h 190"/>
                <a:gd name="T26" fmla="*/ 19 w 150"/>
                <a:gd name="T27" fmla="*/ 190 h 190"/>
                <a:gd name="T28" fmla="*/ 6 w 150"/>
                <a:gd name="T29" fmla="*/ 190 h 190"/>
                <a:gd name="T30" fmla="*/ 0 w 150"/>
                <a:gd name="T31" fmla="*/ 184 h 190"/>
                <a:gd name="T32" fmla="*/ 0 w 150"/>
                <a:gd name="T33" fmla="*/ 5 h 190"/>
                <a:gd name="T34" fmla="*/ 5 w 150"/>
                <a:gd name="T35" fmla="*/ 0 h 190"/>
                <a:gd name="T36" fmla="*/ 16 w 150"/>
                <a:gd name="T37" fmla="*/ 0 h 190"/>
                <a:gd name="T38" fmla="*/ 26 w 150"/>
                <a:gd name="T39" fmla="*/ 5 h 190"/>
                <a:gd name="T40" fmla="*/ 125 w 150"/>
                <a:gd name="T41" fmla="*/ 148 h 190"/>
                <a:gd name="T42" fmla="*/ 126 w 150"/>
                <a:gd name="T43" fmla="*/ 14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0" h="190">
                  <a:moveTo>
                    <a:pt x="126" y="148"/>
                  </a:moveTo>
                  <a:lnTo>
                    <a:pt x="126" y="148"/>
                  </a:lnTo>
                  <a:lnTo>
                    <a:pt x="126" y="5"/>
                  </a:lnTo>
                  <a:cubicBezTo>
                    <a:pt x="126" y="2"/>
                    <a:pt x="128" y="0"/>
                    <a:pt x="131" y="0"/>
                  </a:cubicBezTo>
                  <a:lnTo>
                    <a:pt x="144" y="0"/>
                  </a:lnTo>
                  <a:cubicBezTo>
                    <a:pt x="148" y="0"/>
                    <a:pt x="150" y="1"/>
                    <a:pt x="150" y="5"/>
                  </a:cubicBezTo>
                  <a:lnTo>
                    <a:pt x="150" y="184"/>
                  </a:lnTo>
                  <a:cubicBezTo>
                    <a:pt x="150" y="188"/>
                    <a:pt x="148" y="190"/>
                    <a:pt x="144" y="190"/>
                  </a:cubicBezTo>
                  <a:lnTo>
                    <a:pt x="132" y="190"/>
                  </a:lnTo>
                  <a:cubicBezTo>
                    <a:pt x="128" y="190"/>
                    <a:pt x="126" y="188"/>
                    <a:pt x="123" y="184"/>
                  </a:cubicBezTo>
                  <a:lnTo>
                    <a:pt x="24" y="44"/>
                  </a:lnTo>
                  <a:lnTo>
                    <a:pt x="24" y="44"/>
                  </a:lnTo>
                  <a:lnTo>
                    <a:pt x="24" y="184"/>
                  </a:lnTo>
                  <a:cubicBezTo>
                    <a:pt x="24" y="188"/>
                    <a:pt x="22" y="190"/>
                    <a:pt x="19" y="190"/>
                  </a:cubicBezTo>
                  <a:lnTo>
                    <a:pt x="6" y="190"/>
                  </a:lnTo>
                  <a:cubicBezTo>
                    <a:pt x="2" y="190"/>
                    <a:pt x="0" y="188"/>
                    <a:pt x="0" y="18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16" y="0"/>
                  </a:lnTo>
                  <a:cubicBezTo>
                    <a:pt x="20" y="0"/>
                    <a:pt x="23" y="1"/>
                    <a:pt x="26" y="5"/>
                  </a:cubicBezTo>
                  <a:lnTo>
                    <a:pt x="125" y="148"/>
                  </a:lnTo>
                  <a:lnTo>
                    <a:pt x="126" y="14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9">
              <a:extLst>
                <a:ext uri="{FF2B5EF4-FFF2-40B4-BE49-F238E27FC236}">
                  <a16:creationId xmlns:a16="http://schemas.microsoft.com/office/drawing/2014/main" id="{D516A1F4-997F-4E3E-B024-130719F375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5" y="3689"/>
              <a:ext cx="86" cy="114"/>
            </a:xfrm>
            <a:custGeom>
              <a:avLst/>
              <a:gdLst>
                <a:gd name="T0" fmla="*/ 5 w 144"/>
                <a:gd name="T1" fmla="*/ 20 h 190"/>
                <a:gd name="T2" fmla="*/ 5 w 144"/>
                <a:gd name="T3" fmla="*/ 20 h 190"/>
                <a:gd name="T4" fmla="*/ 0 w 144"/>
                <a:gd name="T5" fmla="*/ 15 h 190"/>
                <a:gd name="T6" fmla="*/ 0 w 144"/>
                <a:gd name="T7" fmla="*/ 4 h 190"/>
                <a:gd name="T8" fmla="*/ 5 w 144"/>
                <a:gd name="T9" fmla="*/ 0 h 190"/>
                <a:gd name="T10" fmla="*/ 139 w 144"/>
                <a:gd name="T11" fmla="*/ 0 h 190"/>
                <a:gd name="T12" fmla="*/ 143 w 144"/>
                <a:gd name="T13" fmla="*/ 4 h 190"/>
                <a:gd name="T14" fmla="*/ 142 w 144"/>
                <a:gd name="T15" fmla="*/ 15 h 190"/>
                <a:gd name="T16" fmla="*/ 136 w 144"/>
                <a:gd name="T17" fmla="*/ 20 h 190"/>
                <a:gd name="T18" fmla="*/ 83 w 144"/>
                <a:gd name="T19" fmla="*/ 20 h 190"/>
                <a:gd name="T20" fmla="*/ 83 w 144"/>
                <a:gd name="T21" fmla="*/ 184 h 190"/>
                <a:gd name="T22" fmla="*/ 78 w 144"/>
                <a:gd name="T23" fmla="*/ 190 h 190"/>
                <a:gd name="T24" fmla="*/ 63 w 144"/>
                <a:gd name="T25" fmla="*/ 190 h 190"/>
                <a:gd name="T26" fmla="*/ 58 w 144"/>
                <a:gd name="T27" fmla="*/ 184 h 190"/>
                <a:gd name="T28" fmla="*/ 58 w 144"/>
                <a:gd name="T29" fmla="*/ 20 h 190"/>
                <a:gd name="T30" fmla="*/ 5 w 144"/>
                <a:gd name="T31" fmla="*/ 2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4" h="190">
                  <a:moveTo>
                    <a:pt x="5" y="20"/>
                  </a:moveTo>
                  <a:lnTo>
                    <a:pt x="5" y="20"/>
                  </a:lnTo>
                  <a:cubicBezTo>
                    <a:pt x="2" y="20"/>
                    <a:pt x="0" y="19"/>
                    <a:pt x="0" y="15"/>
                  </a:cubicBezTo>
                  <a:lnTo>
                    <a:pt x="0" y="4"/>
                  </a:lnTo>
                  <a:cubicBezTo>
                    <a:pt x="0" y="1"/>
                    <a:pt x="2" y="0"/>
                    <a:pt x="5" y="0"/>
                  </a:cubicBezTo>
                  <a:lnTo>
                    <a:pt x="139" y="0"/>
                  </a:lnTo>
                  <a:cubicBezTo>
                    <a:pt x="143" y="0"/>
                    <a:pt x="144" y="1"/>
                    <a:pt x="143" y="4"/>
                  </a:cubicBezTo>
                  <a:lnTo>
                    <a:pt x="142" y="15"/>
                  </a:lnTo>
                  <a:cubicBezTo>
                    <a:pt x="141" y="19"/>
                    <a:pt x="140" y="20"/>
                    <a:pt x="136" y="20"/>
                  </a:cubicBezTo>
                  <a:lnTo>
                    <a:pt x="83" y="20"/>
                  </a:lnTo>
                  <a:lnTo>
                    <a:pt x="83" y="184"/>
                  </a:lnTo>
                  <a:cubicBezTo>
                    <a:pt x="83" y="188"/>
                    <a:pt x="82" y="190"/>
                    <a:pt x="78" y="190"/>
                  </a:cubicBezTo>
                  <a:lnTo>
                    <a:pt x="63" y="190"/>
                  </a:lnTo>
                  <a:cubicBezTo>
                    <a:pt x="59" y="190"/>
                    <a:pt x="58" y="188"/>
                    <a:pt x="58" y="184"/>
                  </a:cubicBezTo>
                  <a:lnTo>
                    <a:pt x="58" y="20"/>
                  </a:lnTo>
                  <a:lnTo>
                    <a:pt x="5" y="2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30">
              <a:extLst>
                <a:ext uri="{FF2B5EF4-FFF2-40B4-BE49-F238E27FC236}">
                  <a16:creationId xmlns:a16="http://schemas.microsoft.com/office/drawing/2014/main" id="{06B7FF3F-7B88-4189-9D49-D1123ECCED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2" y="3372"/>
              <a:ext cx="177" cy="232"/>
            </a:xfrm>
            <a:custGeom>
              <a:avLst/>
              <a:gdLst>
                <a:gd name="T0" fmla="*/ 186 w 292"/>
                <a:gd name="T1" fmla="*/ 204 h 385"/>
                <a:gd name="T2" fmla="*/ 186 w 292"/>
                <a:gd name="T3" fmla="*/ 204 h 385"/>
                <a:gd name="T4" fmla="*/ 175 w 292"/>
                <a:gd name="T5" fmla="*/ 195 h 385"/>
                <a:gd name="T6" fmla="*/ 175 w 292"/>
                <a:gd name="T7" fmla="*/ 173 h 385"/>
                <a:gd name="T8" fmla="*/ 186 w 292"/>
                <a:gd name="T9" fmla="*/ 165 h 385"/>
                <a:gd name="T10" fmla="*/ 281 w 292"/>
                <a:gd name="T11" fmla="*/ 165 h 385"/>
                <a:gd name="T12" fmla="*/ 292 w 292"/>
                <a:gd name="T13" fmla="*/ 176 h 385"/>
                <a:gd name="T14" fmla="*/ 292 w 292"/>
                <a:gd name="T15" fmla="*/ 339 h 385"/>
                <a:gd name="T16" fmla="*/ 280 w 292"/>
                <a:gd name="T17" fmla="*/ 360 h 385"/>
                <a:gd name="T18" fmla="*/ 174 w 292"/>
                <a:gd name="T19" fmla="*/ 385 h 385"/>
                <a:gd name="T20" fmla="*/ 0 w 292"/>
                <a:gd name="T21" fmla="*/ 193 h 385"/>
                <a:gd name="T22" fmla="*/ 181 w 292"/>
                <a:gd name="T23" fmla="*/ 0 h 385"/>
                <a:gd name="T24" fmla="*/ 271 w 292"/>
                <a:gd name="T25" fmla="*/ 18 h 385"/>
                <a:gd name="T26" fmla="*/ 276 w 292"/>
                <a:gd name="T27" fmla="*/ 31 h 385"/>
                <a:gd name="T28" fmla="*/ 269 w 292"/>
                <a:gd name="T29" fmla="*/ 52 h 385"/>
                <a:gd name="T30" fmla="*/ 256 w 292"/>
                <a:gd name="T31" fmla="*/ 56 h 385"/>
                <a:gd name="T32" fmla="*/ 183 w 292"/>
                <a:gd name="T33" fmla="*/ 42 h 385"/>
                <a:gd name="T34" fmla="*/ 54 w 292"/>
                <a:gd name="T35" fmla="*/ 192 h 385"/>
                <a:gd name="T36" fmla="*/ 173 w 292"/>
                <a:gd name="T37" fmla="*/ 345 h 385"/>
                <a:gd name="T38" fmla="*/ 242 w 292"/>
                <a:gd name="T39" fmla="*/ 332 h 385"/>
                <a:gd name="T40" fmla="*/ 242 w 292"/>
                <a:gd name="T41" fmla="*/ 204 h 385"/>
                <a:gd name="T42" fmla="*/ 186 w 292"/>
                <a:gd name="T43" fmla="*/ 20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2" h="385">
                  <a:moveTo>
                    <a:pt x="186" y="204"/>
                  </a:moveTo>
                  <a:lnTo>
                    <a:pt x="186" y="204"/>
                  </a:lnTo>
                  <a:cubicBezTo>
                    <a:pt x="179" y="204"/>
                    <a:pt x="175" y="201"/>
                    <a:pt x="175" y="195"/>
                  </a:cubicBezTo>
                  <a:lnTo>
                    <a:pt x="175" y="173"/>
                  </a:lnTo>
                  <a:cubicBezTo>
                    <a:pt x="175" y="167"/>
                    <a:pt x="179" y="165"/>
                    <a:pt x="186" y="165"/>
                  </a:cubicBezTo>
                  <a:lnTo>
                    <a:pt x="281" y="165"/>
                  </a:lnTo>
                  <a:cubicBezTo>
                    <a:pt x="288" y="165"/>
                    <a:pt x="292" y="167"/>
                    <a:pt x="292" y="176"/>
                  </a:cubicBezTo>
                  <a:lnTo>
                    <a:pt x="292" y="339"/>
                  </a:lnTo>
                  <a:cubicBezTo>
                    <a:pt x="292" y="351"/>
                    <a:pt x="290" y="355"/>
                    <a:pt x="280" y="360"/>
                  </a:cubicBezTo>
                  <a:cubicBezTo>
                    <a:pt x="254" y="375"/>
                    <a:pt x="210" y="385"/>
                    <a:pt x="174" y="385"/>
                  </a:cubicBezTo>
                  <a:cubicBezTo>
                    <a:pt x="57" y="385"/>
                    <a:pt x="0" y="305"/>
                    <a:pt x="0" y="193"/>
                  </a:cubicBezTo>
                  <a:cubicBezTo>
                    <a:pt x="0" y="84"/>
                    <a:pt x="68" y="0"/>
                    <a:pt x="181" y="0"/>
                  </a:cubicBezTo>
                  <a:cubicBezTo>
                    <a:pt x="209" y="0"/>
                    <a:pt x="244" y="6"/>
                    <a:pt x="271" y="18"/>
                  </a:cubicBezTo>
                  <a:cubicBezTo>
                    <a:pt x="278" y="21"/>
                    <a:pt x="279" y="24"/>
                    <a:pt x="276" y="31"/>
                  </a:cubicBezTo>
                  <a:lnTo>
                    <a:pt x="269" y="52"/>
                  </a:lnTo>
                  <a:cubicBezTo>
                    <a:pt x="267" y="58"/>
                    <a:pt x="262" y="59"/>
                    <a:pt x="256" y="56"/>
                  </a:cubicBezTo>
                  <a:cubicBezTo>
                    <a:pt x="236" y="48"/>
                    <a:pt x="205" y="42"/>
                    <a:pt x="183" y="42"/>
                  </a:cubicBezTo>
                  <a:cubicBezTo>
                    <a:pt x="97" y="42"/>
                    <a:pt x="54" y="110"/>
                    <a:pt x="54" y="192"/>
                  </a:cubicBezTo>
                  <a:cubicBezTo>
                    <a:pt x="54" y="273"/>
                    <a:pt x="89" y="345"/>
                    <a:pt x="173" y="345"/>
                  </a:cubicBezTo>
                  <a:cubicBezTo>
                    <a:pt x="197" y="345"/>
                    <a:pt x="223" y="341"/>
                    <a:pt x="242" y="332"/>
                  </a:cubicBezTo>
                  <a:lnTo>
                    <a:pt x="242" y="204"/>
                  </a:lnTo>
                  <a:lnTo>
                    <a:pt x="186" y="20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1">
              <a:extLst>
                <a:ext uri="{FF2B5EF4-FFF2-40B4-BE49-F238E27FC236}">
                  <a16:creationId xmlns:a16="http://schemas.microsoft.com/office/drawing/2014/main" id="{0EAAC800-CBDA-420F-8E27-8669B68C01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3376"/>
              <a:ext cx="118" cy="224"/>
            </a:xfrm>
            <a:custGeom>
              <a:avLst/>
              <a:gdLst>
                <a:gd name="T0" fmla="*/ 62 w 196"/>
                <a:gd name="T1" fmla="*/ 372 h 372"/>
                <a:gd name="T2" fmla="*/ 62 w 196"/>
                <a:gd name="T3" fmla="*/ 372 h 372"/>
                <a:gd name="T4" fmla="*/ 13 w 196"/>
                <a:gd name="T5" fmla="*/ 357 h 372"/>
                <a:gd name="T6" fmla="*/ 0 w 196"/>
                <a:gd name="T7" fmla="*/ 313 h 372"/>
                <a:gd name="T8" fmla="*/ 0 w 196"/>
                <a:gd name="T9" fmla="*/ 11 h 372"/>
                <a:gd name="T10" fmla="*/ 10 w 196"/>
                <a:gd name="T11" fmla="*/ 0 h 372"/>
                <a:gd name="T12" fmla="*/ 39 w 196"/>
                <a:gd name="T13" fmla="*/ 0 h 372"/>
                <a:gd name="T14" fmla="*/ 50 w 196"/>
                <a:gd name="T15" fmla="*/ 11 h 372"/>
                <a:gd name="T16" fmla="*/ 50 w 196"/>
                <a:gd name="T17" fmla="*/ 311 h 372"/>
                <a:gd name="T18" fmla="*/ 55 w 196"/>
                <a:gd name="T19" fmla="*/ 327 h 372"/>
                <a:gd name="T20" fmla="*/ 71 w 196"/>
                <a:gd name="T21" fmla="*/ 332 h 372"/>
                <a:gd name="T22" fmla="*/ 186 w 196"/>
                <a:gd name="T23" fmla="*/ 332 h 372"/>
                <a:gd name="T24" fmla="*/ 196 w 196"/>
                <a:gd name="T25" fmla="*/ 341 h 372"/>
                <a:gd name="T26" fmla="*/ 196 w 196"/>
                <a:gd name="T27" fmla="*/ 364 h 372"/>
                <a:gd name="T28" fmla="*/ 186 w 196"/>
                <a:gd name="T29" fmla="*/ 372 h 372"/>
                <a:gd name="T30" fmla="*/ 62 w 196"/>
                <a:gd name="T31" fmla="*/ 37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372">
                  <a:moveTo>
                    <a:pt x="62" y="372"/>
                  </a:moveTo>
                  <a:lnTo>
                    <a:pt x="62" y="372"/>
                  </a:lnTo>
                  <a:cubicBezTo>
                    <a:pt x="39" y="372"/>
                    <a:pt x="24" y="367"/>
                    <a:pt x="13" y="357"/>
                  </a:cubicBezTo>
                  <a:cubicBezTo>
                    <a:pt x="4" y="348"/>
                    <a:pt x="0" y="333"/>
                    <a:pt x="0" y="313"/>
                  </a:cubicBezTo>
                  <a:lnTo>
                    <a:pt x="0" y="11"/>
                  </a:lnTo>
                  <a:cubicBezTo>
                    <a:pt x="0" y="4"/>
                    <a:pt x="3" y="0"/>
                    <a:pt x="10" y="0"/>
                  </a:cubicBezTo>
                  <a:lnTo>
                    <a:pt x="39" y="0"/>
                  </a:lnTo>
                  <a:cubicBezTo>
                    <a:pt x="47" y="0"/>
                    <a:pt x="50" y="2"/>
                    <a:pt x="50" y="11"/>
                  </a:cubicBezTo>
                  <a:lnTo>
                    <a:pt x="50" y="311"/>
                  </a:lnTo>
                  <a:cubicBezTo>
                    <a:pt x="50" y="318"/>
                    <a:pt x="51" y="324"/>
                    <a:pt x="55" y="327"/>
                  </a:cubicBezTo>
                  <a:cubicBezTo>
                    <a:pt x="58" y="331"/>
                    <a:pt x="63" y="332"/>
                    <a:pt x="71" y="332"/>
                  </a:cubicBezTo>
                  <a:lnTo>
                    <a:pt x="186" y="332"/>
                  </a:lnTo>
                  <a:cubicBezTo>
                    <a:pt x="193" y="332"/>
                    <a:pt x="196" y="334"/>
                    <a:pt x="196" y="341"/>
                  </a:cubicBezTo>
                  <a:lnTo>
                    <a:pt x="196" y="364"/>
                  </a:lnTo>
                  <a:cubicBezTo>
                    <a:pt x="196" y="370"/>
                    <a:pt x="193" y="372"/>
                    <a:pt x="186" y="372"/>
                  </a:cubicBezTo>
                  <a:lnTo>
                    <a:pt x="62" y="37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2">
              <a:extLst>
                <a:ext uri="{FF2B5EF4-FFF2-40B4-BE49-F238E27FC236}">
                  <a16:creationId xmlns:a16="http://schemas.microsoft.com/office/drawing/2014/main" id="{C45C86F0-18A3-415C-806C-B16C11032F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16" y="3372"/>
              <a:ext cx="189" cy="232"/>
            </a:xfrm>
            <a:custGeom>
              <a:avLst/>
              <a:gdLst>
                <a:gd name="T0" fmla="*/ 157 w 312"/>
                <a:gd name="T1" fmla="*/ 42 h 385"/>
                <a:gd name="T2" fmla="*/ 157 w 312"/>
                <a:gd name="T3" fmla="*/ 42 h 385"/>
                <a:gd name="T4" fmla="*/ 53 w 312"/>
                <a:gd name="T5" fmla="*/ 193 h 385"/>
                <a:gd name="T6" fmla="*/ 156 w 312"/>
                <a:gd name="T7" fmla="*/ 344 h 385"/>
                <a:gd name="T8" fmla="*/ 259 w 312"/>
                <a:gd name="T9" fmla="*/ 192 h 385"/>
                <a:gd name="T10" fmla="*/ 157 w 312"/>
                <a:gd name="T11" fmla="*/ 42 h 385"/>
                <a:gd name="T12" fmla="*/ 157 w 312"/>
                <a:gd name="T13" fmla="*/ 42 h 385"/>
                <a:gd name="T14" fmla="*/ 153 w 312"/>
                <a:gd name="T15" fmla="*/ 385 h 385"/>
                <a:gd name="T16" fmla="*/ 153 w 312"/>
                <a:gd name="T17" fmla="*/ 385 h 385"/>
                <a:gd name="T18" fmla="*/ 0 w 312"/>
                <a:gd name="T19" fmla="*/ 194 h 385"/>
                <a:gd name="T20" fmla="*/ 158 w 312"/>
                <a:gd name="T21" fmla="*/ 0 h 385"/>
                <a:gd name="T22" fmla="*/ 312 w 312"/>
                <a:gd name="T23" fmla="*/ 191 h 385"/>
                <a:gd name="T24" fmla="*/ 153 w 312"/>
                <a:gd name="T25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2" h="385">
                  <a:moveTo>
                    <a:pt x="157" y="42"/>
                  </a:moveTo>
                  <a:lnTo>
                    <a:pt x="157" y="42"/>
                  </a:lnTo>
                  <a:cubicBezTo>
                    <a:pt x="95" y="42"/>
                    <a:pt x="53" y="103"/>
                    <a:pt x="53" y="193"/>
                  </a:cubicBezTo>
                  <a:cubicBezTo>
                    <a:pt x="53" y="287"/>
                    <a:pt x="91" y="344"/>
                    <a:pt x="156" y="344"/>
                  </a:cubicBezTo>
                  <a:cubicBezTo>
                    <a:pt x="217" y="344"/>
                    <a:pt x="259" y="285"/>
                    <a:pt x="259" y="192"/>
                  </a:cubicBezTo>
                  <a:cubicBezTo>
                    <a:pt x="259" y="97"/>
                    <a:pt x="223" y="42"/>
                    <a:pt x="157" y="42"/>
                  </a:cubicBezTo>
                  <a:lnTo>
                    <a:pt x="157" y="42"/>
                  </a:lnTo>
                  <a:close/>
                  <a:moveTo>
                    <a:pt x="153" y="385"/>
                  </a:moveTo>
                  <a:lnTo>
                    <a:pt x="153" y="385"/>
                  </a:lnTo>
                  <a:cubicBezTo>
                    <a:pt x="57" y="385"/>
                    <a:pt x="0" y="312"/>
                    <a:pt x="0" y="194"/>
                  </a:cubicBezTo>
                  <a:cubicBezTo>
                    <a:pt x="0" y="77"/>
                    <a:pt x="64" y="0"/>
                    <a:pt x="158" y="0"/>
                  </a:cubicBezTo>
                  <a:cubicBezTo>
                    <a:pt x="258" y="0"/>
                    <a:pt x="312" y="78"/>
                    <a:pt x="312" y="191"/>
                  </a:cubicBezTo>
                  <a:cubicBezTo>
                    <a:pt x="312" y="313"/>
                    <a:pt x="244" y="385"/>
                    <a:pt x="153" y="385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3">
              <a:extLst>
                <a:ext uri="{FF2B5EF4-FFF2-40B4-BE49-F238E27FC236}">
                  <a16:creationId xmlns:a16="http://schemas.microsoft.com/office/drawing/2014/main" id="{B987AE02-ABBA-41A5-8856-42477039EC8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556" y="3376"/>
              <a:ext cx="147" cy="224"/>
            </a:xfrm>
            <a:custGeom>
              <a:avLst/>
              <a:gdLst>
                <a:gd name="T0" fmla="*/ 98 w 243"/>
                <a:gd name="T1" fmla="*/ 334 h 372"/>
                <a:gd name="T2" fmla="*/ 98 w 243"/>
                <a:gd name="T3" fmla="*/ 334 h 372"/>
                <a:gd name="T4" fmla="*/ 192 w 243"/>
                <a:gd name="T5" fmla="*/ 265 h 372"/>
                <a:gd name="T6" fmla="*/ 96 w 243"/>
                <a:gd name="T7" fmla="*/ 195 h 372"/>
                <a:gd name="T8" fmla="*/ 51 w 243"/>
                <a:gd name="T9" fmla="*/ 195 h 372"/>
                <a:gd name="T10" fmla="*/ 51 w 243"/>
                <a:gd name="T11" fmla="*/ 334 h 372"/>
                <a:gd name="T12" fmla="*/ 98 w 243"/>
                <a:gd name="T13" fmla="*/ 334 h 372"/>
                <a:gd name="T14" fmla="*/ 98 w 243"/>
                <a:gd name="T15" fmla="*/ 334 h 372"/>
                <a:gd name="T16" fmla="*/ 51 w 243"/>
                <a:gd name="T17" fmla="*/ 159 h 372"/>
                <a:gd name="T18" fmla="*/ 51 w 243"/>
                <a:gd name="T19" fmla="*/ 159 h 372"/>
                <a:gd name="T20" fmla="*/ 87 w 243"/>
                <a:gd name="T21" fmla="*/ 159 h 372"/>
                <a:gd name="T22" fmla="*/ 165 w 243"/>
                <a:gd name="T23" fmla="*/ 94 h 372"/>
                <a:gd name="T24" fmla="*/ 85 w 243"/>
                <a:gd name="T25" fmla="*/ 38 h 372"/>
                <a:gd name="T26" fmla="*/ 51 w 243"/>
                <a:gd name="T27" fmla="*/ 38 h 372"/>
                <a:gd name="T28" fmla="*/ 51 w 243"/>
                <a:gd name="T29" fmla="*/ 159 h 372"/>
                <a:gd name="T30" fmla="*/ 51 w 243"/>
                <a:gd name="T31" fmla="*/ 159 h 372"/>
                <a:gd name="T32" fmla="*/ 243 w 243"/>
                <a:gd name="T33" fmla="*/ 265 h 372"/>
                <a:gd name="T34" fmla="*/ 243 w 243"/>
                <a:gd name="T35" fmla="*/ 265 h 372"/>
                <a:gd name="T36" fmla="*/ 103 w 243"/>
                <a:gd name="T37" fmla="*/ 372 h 372"/>
                <a:gd name="T38" fmla="*/ 12 w 243"/>
                <a:gd name="T39" fmla="*/ 372 h 372"/>
                <a:gd name="T40" fmla="*/ 0 w 243"/>
                <a:gd name="T41" fmla="*/ 360 h 372"/>
                <a:gd name="T42" fmla="*/ 0 w 243"/>
                <a:gd name="T43" fmla="*/ 12 h 372"/>
                <a:gd name="T44" fmla="*/ 12 w 243"/>
                <a:gd name="T45" fmla="*/ 0 h 372"/>
                <a:gd name="T46" fmla="*/ 88 w 243"/>
                <a:gd name="T47" fmla="*/ 0 h 372"/>
                <a:gd name="T48" fmla="*/ 215 w 243"/>
                <a:gd name="T49" fmla="*/ 91 h 372"/>
                <a:gd name="T50" fmla="*/ 150 w 243"/>
                <a:gd name="T51" fmla="*/ 172 h 372"/>
                <a:gd name="T52" fmla="*/ 150 w 243"/>
                <a:gd name="T53" fmla="*/ 173 h 372"/>
                <a:gd name="T54" fmla="*/ 243 w 243"/>
                <a:gd name="T55" fmla="*/ 265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3" h="372">
                  <a:moveTo>
                    <a:pt x="98" y="334"/>
                  </a:moveTo>
                  <a:lnTo>
                    <a:pt x="98" y="334"/>
                  </a:lnTo>
                  <a:cubicBezTo>
                    <a:pt x="146" y="334"/>
                    <a:pt x="191" y="324"/>
                    <a:pt x="192" y="265"/>
                  </a:cubicBezTo>
                  <a:cubicBezTo>
                    <a:pt x="192" y="208"/>
                    <a:pt x="143" y="195"/>
                    <a:pt x="96" y="195"/>
                  </a:cubicBezTo>
                  <a:lnTo>
                    <a:pt x="51" y="195"/>
                  </a:lnTo>
                  <a:lnTo>
                    <a:pt x="51" y="334"/>
                  </a:lnTo>
                  <a:lnTo>
                    <a:pt x="98" y="334"/>
                  </a:lnTo>
                  <a:lnTo>
                    <a:pt x="98" y="334"/>
                  </a:lnTo>
                  <a:close/>
                  <a:moveTo>
                    <a:pt x="51" y="159"/>
                  </a:moveTo>
                  <a:lnTo>
                    <a:pt x="51" y="159"/>
                  </a:lnTo>
                  <a:lnTo>
                    <a:pt x="87" y="159"/>
                  </a:lnTo>
                  <a:cubicBezTo>
                    <a:pt x="125" y="159"/>
                    <a:pt x="165" y="149"/>
                    <a:pt x="165" y="94"/>
                  </a:cubicBezTo>
                  <a:cubicBezTo>
                    <a:pt x="165" y="48"/>
                    <a:pt x="129" y="38"/>
                    <a:pt x="85" y="38"/>
                  </a:cubicBezTo>
                  <a:lnTo>
                    <a:pt x="51" y="38"/>
                  </a:lnTo>
                  <a:lnTo>
                    <a:pt x="51" y="159"/>
                  </a:lnTo>
                  <a:lnTo>
                    <a:pt x="51" y="159"/>
                  </a:lnTo>
                  <a:close/>
                  <a:moveTo>
                    <a:pt x="243" y="265"/>
                  </a:moveTo>
                  <a:lnTo>
                    <a:pt x="243" y="265"/>
                  </a:lnTo>
                  <a:cubicBezTo>
                    <a:pt x="243" y="350"/>
                    <a:pt x="178" y="372"/>
                    <a:pt x="103" y="372"/>
                  </a:cubicBezTo>
                  <a:lnTo>
                    <a:pt x="12" y="372"/>
                  </a:lnTo>
                  <a:cubicBezTo>
                    <a:pt x="5" y="372"/>
                    <a:pt x="0" y="369"/>
                    <a:pt x="0" y="360"/>
                  </a:cubicBezTo>
                  <a:lnTo>
                    <a:pt x="0" y="12"/>
                  </a:lnTo>
                  <a:cubicBezTo>
                    <a:pt x="0" y="3"/>
                    <a:pt x="5" y="0"/>
                    <a:pt x="12" y="0"/>
                  </a:cubicBezTo>
                  <a:lnTo>
                    <a:pt x="88" y="0"/>
                  </a:lnTo>
                  <a:cubicBezTo>
                    <a:pt x="164" y="0"/>
                    <a:pt x="215" y="25"/>
                    <a:pt x="215" y="91"/>
                  </a:cubicBezTo>
                  <a:cubicBezTo>
                    <a:pt x="215" y="130"/>
                    <a:pt x="192" y="164"/>
                    <a:pt x="150" y="172"/>
                  </a:cubicBezTo>
                  <a:lnTo>
                    <a:pt x="150" y="173"/>
                  </a:lnTo>
                  <a:cubicBezTo>
                    <a:pt x="203" y="175"/>
                    <a:pt x="243" y="209"/>
                    <a:pt x="243" y="265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4">
              <a:extLst>
                <a:ext uri="{FF2B5EF4-FFF2-40B4-BE49-F238E27FC236}">
                  <a16:creationId xmlns:a16="http://schemas.microsoft.com/office/drawing/2014/main" id="{6AD01C56-AA61-400E-8EDE-4B8782A16E9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744" y="3376"/>
              <a:ext cx="194" cy="224"/>
            </a:xfrm>
            <a:custGeom>
              <a:avLst/>
              <a:gdLst>
                <a:gd name="T0" fmla="*/ 216 w 322"/>
                <a:gd name="T1" fmla="*/ 225 h 372"/>
                <a:gd name="T2" fmla="*/ 216 w 322"/>
                <a:gd name="T3" fmla="*/ 225 h 372"/>
                <a:gd name="T4" fmla="*/ 160 w 322"/>
                <a:gd name="T5" fmla="*/ 64 h 372"/>
                <a:gd name="T6" fmla="*/ 160 w 322"/>
                <a:gd name="T7" fmla="*/ 64 h 372"/>
                <a:gd name="T8" fmla="*/ 102 w 322"/>
                <a:gd name="T9" fmla="*/ 225 h 372"/>
                <a:gd name="T10" fmla="*/ 216 w 322"/>
                <a:gd name="T11" fmla="*/ 225 h 372"/>
                <a:gd name="T12" fmla="*/ 216 w 322"/>
                <a:gd name="T13" fmla="*/ 225 h 372"/>
                <a:gd name="T14" fmla="*/ 51 w 322"/>
                <a:gd name="T15" fmla="*/ 364 h 372"/>
                <a:gd name="T16" fmla="*/ 51 w 322"/>
                <a:gd name="T17" fmla="*/ 364 h 372"/>
                <a:gd name="T18" fmla="*/ 38 w 322"/>
                <a:gd name="T19" fmla="*/ 372 h 372"/>
                <a:gd name="T20" fmla="*/ 9 w 322"/>
                <a:gd name="T21" fmla="*/ 372 h 372"/>
                <a:gd name="T22" fmla="*/ 2 w 322"/>
                <a:gd name="T23" fmla="*/ 361 h 372"/>
                <a:gd name="T24" fmla="*/ 138 w 322"/>
                <a:gd name="T25" fmla="*/ 7 h 372"/>
                <a:gd name="T26" fmla="*/ 148 w 322"/>
                <a:gd name="T27" fmla="*/ 0 h 372"/>
                <a:gd name="T28" fmla="*/ 176 w 322"/>
                <a:gd name="T29" fmla="*/ 0 h 372"/>
                <a:gd name="T30" fmla="*/ 186 w 322"/>
                <a:gd name="T31" fmla="*/ 6 h 372"/>
                <a:gd name="T32" fmla="*/ 320 w 322"/>
                <a:gd name="T33" fmla="*/ 361 h 372"/>
                <a:gd name="T34" fmla="*/ 313 w 322"/>
                <a:gd name="T35" fmla="*/ 372 h 372"/>
                <a:gd name="T36" fmla="*/ 278 w 322"/>
                <a:gd name="T37" fmla="*/ 372 h 372"/>
                <a:gd name="T38" fmla="*/ 265 w 322"/>
                <a:gd name="T39" fmla="*/ 364 h 372"/>
                <a:gd name="T40" fmla="*/ 229 w 322"/>
                <a:gd name="T41" fmla="*/ 262 h 372"/>
                <a:gd name="T42" fmla="*/ 89 w 322"/>
                <a:gd name="T43" fmla="*/ 262 h 372"/>
                <a:gd name="T44" fmla="*/ 51 w 322"/>
                <a:gd name="T45" fmla="*/ 36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2" h="372">
                  <a:moveTo>
                    <a:pt x="216" y="225"/>
                  </a:moveTo>
                  <a:lnTo>
                    <a:pt x="216" y="225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02" y="225"/>
                  </a:lnTo>
                  <a:lnTo>
                    <a:pt x="216" y="225"/>
                  </a:lnTo>
                  <a:lnTo>
                    <a:pt x="216" y="225"/>
                  </a:lnTo>
                  <a:close/>
                  <a:moveTo>
                    <a:pt x="51" y="364"/>
                  </a:moveTo>
                  <a:lnTo>
                    <a:pt x="51" y="364"/>
                  </a:lnTo>
                  <a:cubicBezTo>
                    <a:pt x="49" y="370"/>
                    <a:pt x="46" y="372"/>
                    <a:pt x="38" y="372"/>
                  </a:cubicBezTo>
                  <a:lnTo>
                    <a:pt x="9" y="372"/>
                  </a:lnTo>
                  <a:cubicBezTo>
                    <a:pt x="1" y="372"/>
                    <a:pt x="0" y="368"/>
                    <a:pt x="2" y="361"/>
                  </a:cubicBezTo>
                  <a:lnTo>
                    <a:pt x="138" y="7"/>
                  </a:lnTo>
                  <a:cubicBezTo>
                    <a:pt x="140" y="3"/>
                    <a:pt x="143" y="0"/>
                    <a:pt x="148" y="0"/>
                  </a:cubicBezTo>
                  <a:lnTo>
                    <a:pt x="176" y="0"/>
                  </a:lnTo>
                  <a:cubicBezTo>
                    <a:pt x="181" y="0"/>
                    <a:pt x="184" y="2"/>
                    <a:pt x="186" y="6"/>
                  </a:cubicBezTo>
                  <a:lnTo>
                    <a:pt x="320" y="361"/>
                  </a:lnTo>
                  <a:cubicBezTo>
                    <a:pt x="322" y="368"/>
                    <a:pt x="321" y="372"/>
                    <a:pt x="313" y="372"/>
                  </a:cubicBezTo>
                  <a:lnTo>
                    <a:pt x="278" y="372"/>
                  </a:lnTo>
                  <a:cubicBezTo>
                    <a:pt x="270" y="372"/>
                    <a:pt x="267" y="370"/>
                    <a:pt x="265" y="364"/>
                  </a:cubicBezTo>
                  <a:lnTo>
                    <a:pt x="229" y="262"/>
                  </a:lnTo>
                  <a:lnTo>
                    <a:pt x="89" y="262"/>
                  </a:lnTo>
                  <a:lnTo>
                    <a:pt x="51" y="36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5">
              <a:extLst>
                <a:ext uri="{FF2B5EF4-FFF2-40B4-BE49-F238E27FC236}">
                  <a16:creationId xmlns:a16="http://schemas.microsoft.com/office/drawing/2014/main" id="{68084AD7-370B-4FB1-9C84-0784A11B76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93" y="3376"/>
              <a:ext cx="118" cy="224"/>
            </a:xfrm>
            <a:custGeom>
              <a:avLst/>
              <a:gdLst>
                <a:gd name="T0" fmla="*/ 62 w 197"/>
                <a:gd name="T1" fmla="*/ 372 h 372"/>
                <a:gd name="T2" fmla="*/ 62 w 197"/>
                <a:gd name="T3" fmla="*/ 372 h 372"/>
                <a:gd name="T4" fmla="*/ 14 w 197"/>
                <a:gd name="T5" fmla="*/ 357 h 372"/>
                <a:gd name="T6" fmla="*/ 0 w 197"/>
                <a:gd name="T7" fmla="*/ 313 h 372"/>
                <a:gd name="T8" fmla="*/ 0 w 197"/>
                <a:gd name="T9" fmla="*/ 11 h 372"/>
                <a:gd name="T10" fmla="*/ 11 w 197"/>
                <a:gd name="T11" fmla="*/ 0 h 372"/>
                <a:gd name="T12" fmla="*/ 40 w 197"/>
                <a:gd name="T13" fmla="*/ 0 h 372"/>
                <a:gd name="T14" fmla="*/ 51 w 197"/>
                <a:gd name="T15" fmla="*/ 11 h 372"/>
                <a:gd name="T16" fmla="*/ 51 w 197"/>
                <a:gd name="T17" fmla="*/ 311 h 372"/>
                <a:gd name="T18" fmla="*/ 55 w 197"/>
                <a:gd name="T19" fmla="*/ 327 h 372"/>
                <a:gd name="T20" fmla="*/ 72 w 197"/>
                <a:gd name="T21" fmla="*/ 332 h 372"/>
                <a:gd name="T22" fmla="*/ 186 w 197"/>
                <a:gd name="T23" fmla="*/ 332 h 372"/>
                <a:gd name="T24" fmla="*/ 197 w 197"/>
                <a:gd name="T25" fmla="*/ 341 h 372"/>
                <a:gd name="T26" fmla="*/ 197 w 197"/>
                <a:gd name="T27" fmla="*/ 364 h 372"/>
                <a:gd name="T28" fmla="*/ 186 w 197"/>
                <a:gd name="T29" fmla="*/ 372 h 372"/>
                <a:gd name="T30" fmla="*/ 62 w 197"/>
                <a:gd name="T31" fmla="*/ 37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372">
                  <a:moveTo>
                    <a:pt x="62" y="372"/>
                  </a:moveTo>
                  <a:lnTo>
                    <a:pt x="62" y="372"/>
                  </a:lnTo>
                  <a:cubicBezTo>
                    <a:pt x="39" y="372"/>
                    <a:pt x="24" y="367"/>
                    <a:pt x="14" y="357"/>
                  </a:cubicBezTo>
                  <a:cubicBezTo>
                    <a:pt x="5" y="348"/>
                    <a:pt x="0" y="333"/>
                    <a:pt x="0" y="313"/>
                  </a:cubicBezTo>
                  <a:lnTo>
                    <a:pt x="0" y="11"/>
                  </a:lnTo>
                  <a:cubicBezTo>
                    <a:pt x="0" y="4"/>
                    <a:pt x="4" y="0"/>
                    <a:pt x="11" y="0"/>
                  </a:cubicBezTo>
                  <a:lnTo>
                    <a:pt x="40" y="0"/>
                  </a:lnTo>
                  <a:cubicBezTo>
                    <a:pt x="47" y="0"/>
                    <a:pt x="51" y="2"/>
                    <a:pt x="51" y="11"/>
                  </a:cubicBezTo>
                  <a:lnTo>
                    <a:pt x="51" y="311"/>
                  </a:lnTo>
                  <a:cubicBezTo>
                    <a:pt x="51" y="318"/>
                    <a:pt x="52" y="324"/>
                    <a:pt x="55" y="327"/>
                  </a:cubicBezTo>
                  <a:cubicBezTo>
                    <a:pt x="58" y="331"/>
                    <a:pt x="64" y="332"/>
                    <a:pt x="72" y="332"/>
                  </a:cubicBezTo>
                  <a:lnTo>
                    <a:pt x="186" y="332"/>
                  </a:lnTo>
                  <a:cubicBezTo>
                    <a:pt x="193" y="332"/>
                    <a:pt x="197" y="334"/>
                    <a:pt x="197" y="341"/>
                  </a:cubicBezTo>
                  <a:lnTo>
                    <a:pt x="197" y="364"/>
                  </a:lnTo>
                  <a:cubicBezTo>
                    <a:pt x="197" y="370"/>
                    <a:pt x="193" y="372"/>
                    <a:pt x="186" y="372"/>
                  </a:cubicBezTo>
                  <a:lnTo>
                    <a:pt x="62" y="37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175548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6">
            <a:extLst>
              <a:ext uri="{FF2B5EF4-FFF2-40B4-BE49-F238E27FC236}">
                <a16:creationId xmlns:a16="http://schemas.microsoft.com/office/drawing/2014/main" id="{0A8BF4F1-FFC7-4FFF-BB76-E153A209A5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39347-1E1B-44A1-8B67-A0F11AAF8508}" type="datetime1">
              <a:rPr lang="en-GB" smtClean="0"/>
              <a:t>23/12/2021</a:t>
            </a:fld>
            <a:endParaRPr lang="en-GB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1F06293E-86E6-4FCA-8559-E895633C6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Slide Number Placeholder 38">
            <a:extLst>
              <a:ext uri="{FF2B5EF4-FFF2-40B4-BE49-F238E27FC236}">
                <a16:creationId xmlns:a16="http://schemas.microsoft.com/office/drawing/2014/main" id="{872032BF-9969-45A1-8479-6BBCB999B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1CA9A68A-3A7D-4351-A637-CF6C35F0A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387798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8B723F7F-A051-424B-8A6C-4635BEA38D56}"/>
              </a:ext>
            </a:extLst>
          </p:cNvPr>
          <p:cNvSpPr/>
          <p:nvPr userDrawn="1"/>
        </p:nvSpPr>
        <p:spPr>
          <a:xfrm rot="10800000">
            <a:off x="10109459" y="0"/>
            <a:ext cx="1770902" cy="1066800"/>
          </a:xfrm>
          <a:prstGeom prst="round2SameRect">
            <a:avLst>
              <a:gd name="adj1" fmla="val 14881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2" name="Group 4">
            <a:extLst>
              <a:ext uri="{FF2B5EF4-FFF2-40B4-BE49-F238E27FC236}">
                <a16:creationId xmlns:a16="http://schemas.microsoft.com/office/drawing/2014/main" id="{6026F968-CE22-49E8-B84D-89208C79FDC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03773" y="295457"/>
            <a:ext cx="1380690" cy="606600"/>
            <a:chOff x="6807" y="3938"/>
            <a:chExt cx="1744" cy="773"/>
          </a:xfrm>
          <a:solidFill>
            <a:schemeClr val="accent4"/>
          </a:solidFill>
        </p:grpSpPr>
        <p:sp>
          <p:nvSpPr>
            <p:cNvPr id="43" name="Freeform 5">
              <a:extLst>
                <a:ext uri="{FF2B5EF4-FFF2-40B4-BE49-F238E27FC236}">
                  <a16:creationId xmlns:a16="http://schemas.microsoft.com/office/drawing/2014/main" id="{09E4B348-BC53-477C-AF23-B010E92A90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522" y="4032"/>
              <a:ext cx="167" cy="159"/>
            </a:xfrm>
            <a:custGeom>
              <a:avLst/>
              <a:gdLst>
                <a:gd name="T0" fmla="*/ 58 w 277"/>
                <a:gd name="T1" fmla="*/ 261 h 263"/>
                <a:gd name="T2" fmla="*/ 58 w 277"/>
                <a:gd name="T3" fmla="*/ 261 h 263"/>
                <a:gd name="T4" fmla="*/ 53 w 277"/>
                <a:gd name="T5" fmla="*/ 257 h 263"/>
                <a:gd name="T6" fmla="*/ 83 w 277"/>
                <a:gd name="T7" fmla="*/ 162 h 263"/>
                <a:gd name="T8" fmla="*/ 3 w 277"/>
                <a:gd name="T9" fmla="*/ 104 h 263"/>
                <a:gd name="T10" fmla="*/ 5 w 277"/>
                <a:gd name="T11" fmla="*/ 97 h 263"/>
                <a:gd name="T12" fmla="*/ 105 w 277"/>
                <a:gd name="T13" fmla="*/ 97 h 263"/>
                <a:gd name="T14" fmla="*/ 135 w 277"/>
                <a:gd name="T15" fmla="*/ 3 h 263"/>
                <a:gd name="T16" fmla="*/ 142 w 277"/>
                <a:gd name="T17" fmla="*/ 3 h 263"/>
                <a:gd name="T18" fmla="*/ 173 w 277"/>
                <a:gd name="T19" fmla="*/ 97 h 263"/>
                <a:gd name="T20" fmla="*/ 272 w 277"/>
                <a:gd name="T21" fmla="*/ 97 h 263"/>
                <a:gd name="T22" fmla="*/ 274 w 277"/>
                <a:gd name="T23" fmla="*/ 104 h 263"/>
                <a:gd name="T24" fmla="*/ 226 w 277"/>
                <a:gd name="T25" fmla="*/ 139 h 263"/>
                <a:gd name="T26" fmla="*/ 170 w 277"/>
                <a:gd name="T27" fmla="*/ 139 h 263"/>
                <a:gd name="T28" fmla="*/ 152 w 277"/>
                <a:gd name="T29" fmla="*/ 85 h 263"/>
                <a:gd name="T30" fmla="*/ 135 w 277"/>
                <a:gd name="T31" fmla="*/ 139 h 263"/>
                <a:gd name="T32" fmla="*/ 78 w 277"/>
                <a:gd name="T33" fmla="*/ 139 h 263"/>
                <a:gd name="T34" fmla="*/ 124 w 277"/>
                <a:gd name="T35" fmla="*/ 172 h 263"/>
                <a:gd name="T36" fmla="*/ 106 w 277"/>
                <a:gd name="T37" fmla="*/ 226 h 263"/>
                <a:gd name="T38" fmla="*/ 58 w 277"/>
                <a:gd name="T39" fmla="*/ 26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63">
                  <a:moveTo>
                    <a:pt x="58" y="261"/>
                  </a:moveTo>
                  <a:lnTo>
                    <a:pt x="58" y="261"/>
                  </a:lnTo>
                  <a:cubicBezTo>
                    <a:pt x="55" y="263"/>
                    <a:pt x="52" y="260"/>
                    <a:pt x="53" y="257"/>
                  </a:cubicBezTo>
                  <a:cubicBezTo>
                    <a:pt x="54" y="252"/>
                    <a:pt x="83" y="162"/>
                    <a:pt x="83" y="162"/>
                  </a:cubicBezTo>
                  <a:lnTo>
                    <a:pt x="3" y="104"/>
                  </a:lnTo>
                  <a:cubicBezTo>
                    <a:pt x="0" y="102"/>
                    <a:pt x="2" y="97"/>
                    <a:pt x="5" y="97"/>
                  </a:cubicBezTo>
                  <a:cubicBezTo>
                    <a:pt x="10" y="97"/>
                    <a:pt x="105" y="97"/>
                    <a:pt x="105" y="97"/>
                  </a:cubicBezTo>
                  <a:cubicBezTo>
                    <a:pt x="105" y="97"/>
                    <a:pt x="134" y="8"/>
                    <a:pt x="135" y="3"/>
                  </a:cubicBezTo>
                  <a:cubicBezTo>
                    <a:pt x="136" y="0"/>
                    <a:pt x="141" y="0"/>
                    <a:pt x="142" y="3"/>
                  </a:cubicBezTo>
                  <a:cubicBezTo>
                    <a:pt x="144" y="8"/>
                    <a:pt x="173" y="97"/>
                    <a:pt x="173" y="97"/>
                  </a:cubicBezTo>
                  <a:cubicBezTo>
                    <a:pt x="173" y="97"/>
                    <a:pt x="267" y="97"/>
                    <a:pt x="272" y="97"/>
                  </a:cubicBezTo>
                  <a:cubicBezTo>
                    <a:pt x="275" y="97"/>
                    <a:pt x="277" y="102"/>
                    <a:pt x="274" y="104"/>
                  </a:cubicBezTo>
                  <a:lnTo>
                    <a:pt x="226" y="139"/>
                  </a:lnTo>
                  <a:lnTo>
                    <a:pt x="170" y="139"/>
                  </a:lnTo>
                  <a:lnTo>
                    <a:pt x="152" y="85"/>
                  </a:lnTo>
                  <a:lnTo>
                    <a:pt x="135" y="139"/>
                  </a:lnTo>
                  <a:lnTo>
                    <a:pt x="78" y="139"/>
                  </a:lnTo>
                  <a:lnTo>
                    <a:pt x="124" y="172"/>
                  </a:lnTo>
                  <a:lnTo>
                    <a:pt x="106" y="226"/>
                  </a:lnTo>
                  <a:cubicBezTo>
                    <a:pt x="106" y="226"/>
                    <a:pt x="61" y="259"/>
                    <a:pt x="58" y="261"/>
                  </a:cubicBez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1AD09C00-116D-44B1-BEF6-C1896E6A3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2" y="4142"/>
              <a:ext cx="929" cy="131"/>
            </a:xfrm>
            <a:custGeom>
              <a:avLst/>
              <a:gdLst>
                <a:gd name="T0" fmla="*/ 1543 w 1543"/>
                <a:gd name="T1" fmla="*/ 9 h 216"/>
                <a:gd name="T2" fmla="*/ 1523 w 1543"/>
                <a:gd name="T3" fmla="*/ 216 h 216"/>
                <a:gd name="T4" fmla="*/ 1410 w 1543"/>
                <a:gd name="T5" fmla="*/ 115 h 216"/>
                <a:gd name="T6" fmla="*/ 1367 w 1543"/>
                <a:gd name="T7" fmla="*/ 0 h 216"/>
                <a:gd name="T8" fmla="*/ 1493 w 1543"/>
                <a:gd name="T9" fmla="*/ 121 h 216"/>
                <a:gd name="T10" fmla="*/ 1543 w 1543"/>
                <a:gd name="T11" fmla="*/ 0 h 216"/>
                <a:gd name="T12" fmla="*/ 712 w 1543"/>
                <a:gd name="T13" fmla="*/ 0 h 216"/>
                <a:gd name="T14" fmla="*/ 665 w 1543"/>
                <a:gd name="T15" fmla="*/ 216 h 216"/>
                <a:gd name="T16" fmla="*/ 588 w 1543"/>
                <a:gd name="T17" fmla="*/ 216 h 216"/>
                <a:gd name="T18" fmla="*/ 573 w 1543"/>
                <a:gd name="T19" fmla="*/ 0 h 216"/>
                <a:gd name="T20" fmla="*/ 668 w 1543"/>
                <a:gd name="T21" fmla="*/ 98 h 216"/>
                <a:gd name="T22" fmla="*/ 712 w 1543"/>
                <a:gd name="T23" fmla="*/ 0 h 216"/>
                <a:gd name="T24" fmla="*/ 118 w 1543"/>
                <a:gd name="T25" fmla="*/ 0 h 216"/>
                <a:gd name="T26" fmla="*/ 67 w 1543"/>
                <a:gd name="T27" fmla="*/ 0 h 216"/>
                <a:gd name="T28" fmla="*/ 9 w 1543"/>
                <a:gd name="T29" fmla="*/ 23 h 216"/>
                <a:gd name="T30" fmla="*/ 67 w 1543"/>
                <a:gd name="T31" fmla="*/ 122 h 216"/>
                <a:gd name="T32" fmla="*/ 176 w 1543"/>
                <a:gd name="T33" fmla="*/ 216 h 216"/>
                <a:gd name="T34" fmla="*/ 363 w 1543"/>
                <a:gd name="T35" fmla="*/ 0 h 216"/>
                <a:gd name="T36" fmla="*/ 234 w 1543"/>
                <a:gd name="T37" fmla="*/ 196 h 216"/>
                <a:gd name="T38" fmla="*/ 375 w 1543"/>
                <a:gd name="T39" fmla="*/ 204 h 216"/>
                <a:gd name="T40" fmla="*/ 292 w 1543"/>
                <a:gd name="T41" fmla="*/ 167 h 216"/>
                <a:gd name="T42" fmla="*/ 358 w 1543"/>
                <a:gd name="T43" fmla="*/ 83 h 216"/>
                <a:gd name="T44" fmla="*/ 375 w 1543"/>
                <a:gd name="T45" fmla="*/ 40 h 216"/>
                <a:gd name="T46" fmla="*/ 486 w 1543"/>
                <a:gd name="T47" fmla="*/ 0 h 216"/>
                <a:gd name="T48" fmla="*/ 428 w 1543"/>
                <a:gd name="T49" fmla="*/ 204 h 216"/>
                <a:gd name="T50" fmla="*/ 486 w 1543"/>
                <a:gd name="T51" fmla="*/ 0 h 216"/>
                <a:gd name="T52" fmla="*/ 1307 w 1543"/>
                <a:gd name="T53" fmla="*/ 0 h 216"/>
                <a:gd name="T54" fmla="*/ 1199 w 1543"/>
                <a:gd name="T55" fmla="*/ 216 h 216"/>
                <a:gd name="T56" fmla="*/ 1318 w 1543"/>
                <a:gd name="T57" fmla="*/ 176 h 216"/>
                <a:gd name="T58" fmla="*/ 1235 w 1543"/>
                <a:gd name="T59" fmla="*/ 122 h 216"/>
                <a:gd name="T60" fmla="*/ 1235 w 1543"/>
                <a:gd name="T61" fmla="*/ 83 h 216"/>
                <a:gd name="T62" fmla="*/ 1318 w 1543"/>
                <a:gd name="T63" fmla="*/ 12 h 216"/>
                <a:gd name="T64" fmla="*/ 899 w 1543"/>
                <a:gd name="T65" fmla="*/ 0 h 216"/>
                <a:gd name="T66" fmla="*/ 792 w 1543"/>
                <a:gd name="T67" fmla="*/ 216 h 216"/>
                <a:gd name="T68" fmla="*/ 911 w 1543"/>
                <a:gd name="T69" fmla="*/ 176 h 216"/>
                <a:gd name="T70" fmla="*/ 828 w 1543"/>
                <a:gd name="T71" fmla="*/ 122 h 216"/>
                <a:gd name="T72" fmla="*/ 828 w 1543"/>
                <a:gd name="T73" fmla="*/ 83 h 216"/>
                <a:gd name="T74" fmla="*/ 911 w 1543"/>
                <a:gd name="T75" fmla="*/ 12 h 216"/>
                <a:gd name="T76" fmla="*/ 1144 w 1543"/>
                <a:gd name="T77" fmla="*/ 0 h 216"/>
                <a:gd name="T78" fmla="*/ 1018 w 1543"/>
                <a:gd name="T79" fmla="*/ 80 h 216"/>
                <a:gd name="T80" fmla="*/ 960 w 1543"/>
                <a:gd name="T81" fmla="*/ 204 h 216"/>
                <a:gd name="T82" fmla="*/ 1018 w 1543"/>
                <a:gd name="T83" fmla="*/ 118 h 216"/>
                <a:gd name="T84" fmla="*/ 1149 w 1543"/>
                <a:gd name="T85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43" h="216">
                  <a:moveTo>
                    <a:pt x="1543" y="0"/>
                  </a:moveTo>
                  <a:lnTo>
                    <a:pt x="1543" y="0"/>
                  </a:lnTo>
                  <a:lnTo>
                    <a:pt x="1543" y="9"/>
                  </a:lnTo>
                  <a:cubicBezTo>
                    <a:pt x="1543" y="9"/>
                    <a:pt x="1534" y="12"/>
                    <a:pt x="1534" y="23"/>
                  </a:cubicBezTo>
                  <a:lnTo>
                    <a:pt x="1534" y="204"/>
                  </a:lnTo>
                  <a:cubicBezTo>
                    <a:pt x="1534" y="210"/>
                    <a:pt x="1529" y="216"/>
                    <a:pt x="1523" y="216"/>
                  </a:cubicBezTo>
                  <a:lnTo>
                    <a:pt x="1487" y="216"/>
                  </a:lnTo>
                  <a:lnTo>
                    <a:pt x="1409" y="92"/>
                  </a:lnTo>
                  <a:cubicBezTo>
                    <a:pt x="1409" y="92"/>
                    <a:pt x="1410" y="102"/>
                    <a:pt x="1410" y="115"/>
                  </a:cubicBezTo>
                  <a:lnTo>
                    <a:pt x="1410" y="216"/>
                  </a:lnTo>
                  <a:lnTo>
                    <a:pt x="1367" y="216"/>
                  </a:lnTo>
                  <a:lnTo>
                    <a:pt x="1367" y="0"/>
                  </a:lnTo>
                  <a:lnTo>
                    <a:pt x="1395" y="0"/>
                  </a:lnTo>
                  <a:cubicBezTo>
                    <a:pt x="1410" y="0"/>
                    <a:pt x="1420" y="6"/>
                    <a:pt x="1428" y="18"/>
                  </a:cubicBezTo>
                  <a:cubicBezTo>
                    <a:pt x="1434" y="28"/>
                    <a:pt x="1493" y="121"/>
                    <a:pt x="1493" y="121"/>
                  </a:cubicBezTo>
                  <a:cubicBezTo>
                    <a:pt x="1493" y="121"/>
                    <a:pt x="1491" y="115"/>
                    <a:pt x="1491" y="98"/>
                  </a:cubicBezTo>
                  <a:lnTo>
                    <a:pt x="1491" y="0"/>
                  </a:lnTo>
                  <a:lnTo>
                    <a:pt x="1543" y="0"/>
                  </a:lnTo>
                  <a:lnTo>
                    <a:pt x="1543" y="0"/>
                  </a:lnTo>
                  <a:close/>
                  <a:moveTo>
                    <a:pt x="712" y="0"/>
                  </a:moveTo>
                  <a:lnTo>
                    <a:pt x="712" y="0"/>
                  </a:lnTo>
                  <a:lnTo>
                    <a:pt x="712" y="204"/>
                  </a:lnTo>
                  <a:cubicBezTo>
                    <a:pt x="712" y="210"/>
                    <a:pt x="706" y="216"/>
                    <a:pt x="700" y="216"/>
                  </a:cubicBezTo>
                  <a:lnTo>
                    <a:pt x="665" y="216"/>
                  </a:lnTo>
                  <a:lnTo>
                    <a:pt x="586" y="92"/>
                  </a:lnTo>
                  <a:cubicBezTo>
                    <a:pt x="586" y="92"/>
                    <a:pt x="588" y="102"/>
                    <a:pt x="588" y="115"/>
                  </a:cubicBezTo>
                  <a:lnTo>
                    <a:pt x="588" y="216"/>
                  </a:lnTo>
                  <a:lnTo>
                    <a:pt x="545" y="216"/>
                  </a:lnTo>
                  <a:lnTo>
                    <a:pt x="545" y="0"/>
                  </a:lnTo>
                  <a:lnTo>
                    <a:pt x="573" y="0"/>
                  </a:lnTo>
                  <a:cubicBezTo>
                    <a:pt x="587" y="0"/>
                    <a:pt x="597" y="6"/>
                    <a:pt x="605" y="18"/>
                  </a:cubicBezTo>
                  <a:cubicBezTo>
                    <a:pt x="611" y="28"/>
                    <a:pt x="670" y="121"/>
                    <a:pt x="670" y="121"/>
                  </a:cubicBezTo>
                  <a:cubicBezTo>
                    <a:pt x="670" y="121"/>
                    <a:pt x="668" y="115"/>
                    <a:pt x="668" y="98"/>
                  </a:cubicBezTo>
                  <a:lnTo>
                    <a:pt x="668" y="0"/>
                  </a:lnTo>
                  <a:lnTo>
                    <a:pt x="712" y="0"/>
                  </a:lnTo>
                  <a:lnTo>
                    <a:pt x="712" y="0"/>
                  </a:lnTo>
                  <a:close/>
                  <a:moveTo>
                    <a:pt x="176" y="0"/>
                  </a:moveTo>
                  <a:lnTo>
                    <a:pt x="176" y="0"/>
                  </a:lnTo>
                  <a:lnTo>
                    <a:pt x="118" y="0"/>
                  </a:lnTo>
                  <a:lnTo>
                    <a:pt x="118" y="83"/>
                  </a:lnTo>
                  <a:lnTo>
                    <a:pt x="67" y="83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9"/>
                  </a:lnTo>
                  <a:cubicBezTo>
                    <a:pt x="0" y="9"/>
                    <a:pt x="9" y="12"/>
                    <a:pt x="9" y="23"/>
                  </a:cubicBezTo>
                  <a:lnTo>
                    <a:pt x="9" y="216"/>
                  </a:lnTo>
                  <a:lnTo>
                    <a:pt x="67" y="216"/>
                  </a:lnTo>
                  <a:lnTo>
                    <a:pt x="67" y="122"/>
                  </a:lnTo>
                  <a:lnTo>
                    <a:pt x="118" y="122"/>
                  </a:lnTo>
                  <a:lnTo>
                    <a:pt x="118" y="216"/>
                  </a:lnTo>
                  <a:lnTo>
                    <a:pt x="176" y="216"/>
                  </a:lnTo>
                  <a:lnTo>
                    <a:pt x="176" y="0"/>
                  </a:lnTo>
                  <a:lnTo>
                    <a:pt x="176" y="0"/>
                  </a:lnTo>
                  <a:close/>
                  <a:moveTo>
                    <a:pt x="363" y="0"/>
                  </a:moveTo>
                  <a:lnTo>
                    <a:pt x="363" y="0"/>
                  </a:lnTo>
                  <a:lnTo>
                    <a:pt x="234" y="0"/>
                  </a:lnTo>
                  <a:lnTo>
                    <a:pt x="234" y="196"/>
                  </a:lnTo>
                  <a:cubicBezTo>
                    <a:pt x="234" y="208"/>
                    <a:pt x="245" y="216"/>
                    <a:pt x="256" y="216"/>
                  </a:cubicBezTo>
                  <a:lnTo>
                    <a:pt x="363" y="216"/>
                  </a:lnTo>
                  <a:cubicBezTo>
                    <a:pt x="370" y="216"/>
                    <a:pt x="375" y="210"/>
                    <a:pt x="375" y="204"/>
                  </a:cubicBezTo>
                  <a:lnTo>
                    <a:pt x="375" y="176"/>
                  </a:lnTo>
                  <a:lnTo>
                    <a:pt x="301" y="176"/>
                  </a:lnTo>
                  <a:cubicBezTo>
                    <a:pt x="296" y="176"/>
                    <a:pt x="292" y="172"/>
                    <a:pt x="292" y="167"/>
                  </a:cubicBezTo>
                  <a:lnTo>
                    <a:pt x="292" y="122"/>
                  </a:lnTo>
                  <a:lnTo>
                    <a:pt x="358" y="122"/>
                  </a:lnTo>
                  <a:lnTo>
                    <a:pt x="358" y="83"/>
                  </a:lnTo>
                  <a:lnTo>
                    <a:pt x="292" y="83"/>
                  </a:lnTo>
                  <a:lnTo>
                    <a:pt x="292" y="40"/>
                  </a:lnTo>
                  <a:lnTo>
                    <a:pt x="375" y="40"/>
                  </a:lnTo>
                  <a:lnTo>
                    <a:pt x="375" y="12"/>
                  </a:lnTo>
                  <a:cubicBezTo>
                    <a:pt x="375" y="6"/>
                    <a:pt x="370" y="0"/>
                    <a:pt x="363" y="0"/>
                  </a:cubicBezTo>
                  <a:close/>
                  <a:moveTo>
                    <a:pt x="486" y="0"/>
                  </a:moveTo>
                  <a:lnTo>
                    <a:pt x="486" y="0"/>
                  </a:lnTo>
                  <a:lnTo>
                    <a:pt x="428" y="0"/>
                  </a:lnTo>
                  <a:lnTo>
                    <a:pt x="428" y="204"/>
                  </a:lnTo>
                  <a:cubicBezTo>
                    <a:pt x="428" y="210"/>
                    <a:pt x="433" y="216"/>
                    <a:pt x="439" y="216"/>
                  </a:cubicBezTo>
                  <a:lnTo>
                    <a:pt x="486" y="216"/>
                  </a:lnTo>
                  <a:lnTo>
                    <a:pt x="486" y="0"/>
                  </a:lnTo>
                  <a:lnTo>
                    <a:pt x="486" y="0"/>
                  </a:lnTo>
                  <a:close/>
                  <a:moveTo>
                    <a:pt x="1307" y="0"/>
                  </a:moveTo>
                  <a:lnTo>
                    <a:pt x="1307" y="0"/>
                  </a:lnTo>
                  <a:lnTo>
                    <a:pt x="1178" y="0"/>
                  </a:lnTo>
                  <a:lnTo>
                    <a:pt x="1178" y="196"/>
                  </a:lnTo>
                  <a:cubicBezTo>
                    <a:pt x="1178" y="207"/>
                    <a:pt x="1188" y="216"/>
                    <a:pt x="1199" y="216"/>
                  </a:cubicBezTo>
                  <a:lnTo>
                    <a:pt x="1307" y="216"/>
                  </a:lnTo>
                  <a:cubicBezTo>
                    <a:pt x="1313" y="216"/>
                    <a:pt x="1318" y="210"/>
                    <a:pt x="1318" y="204"/>
                  </a:cubicBezTo>
                  <a:lnTo>
                    <a:pt x="1318" y="176"/>
                  </a:lnTo>
                  <a:lnTo>
                    <a:pt x="1244" y="176"/>
                  </a:lnTo>
                  <a:cubicBezTo>
                    <a:pt x="1239" y="176"/>
                    <a:pt x="1235" y="172"/>
                    <a:pt x="1235" y="167"/>
                  </a:cubicBezTo>
                  <a:lnTo>
                    <a:pt x="1235" y="122"/>
                  </a:lnTo>
                  <a:lnTo>
                    <a:pt x="1301" y="122"/>
                  </a:lnTo>
                  <a:lnTo>
                    <a:pt x="1301" y="83"/>
                  </a:lnTo>
                  <a:lnTo>
                    <a:pt x="1235" y="83"/>
                  </a:lnTo>
                  <a:lnTo>
                    <a:pt x="1235" y="40"/>
                  </a:lnTo>
                  <a:lnTo>
                    <a:pt x="1318" y="40"/>
                  </a:lnTo>
                  <a:lnTo>
                    <a:pt x="1318" y="12"/>
                  </a:lnTo>
                  <a:cubicBezTo>
                    <a:pt x="1318" y="6"/>
                    <a:pt x="1313" y="0"/>
                    <a:pt x="1307" y="0"/>
                  </a:cubicBezTo>
                  <a:close/>
                  <a:moveTo>
                    <a:pt x="899" y="0"/>
                  </a:moveTo>
                  <a:lnTo>
                    <a:pt x="899" y="0"/>
                  </a:lnTo>
                  <a:lnTo>
                    <a:pt x="770" y="0"/>
                  </a:lnTo>
                  <a:lnTo>
                    <a:pt x="770" y="196"/>
                  </a:lnTo>
                  <a:cubicBezTo>
                    <a:pt x="770" y="207"/>
                    <a:pt x="781" y="216"/>
                    <a:pt x="792" y="216"/>
                  </a:cubicBezTo>
                  <a:lnTo>
                    <a:pt x="899" y="216"/>
                  </a:lnTo>
                  <a:cubicBezTo>
                    <a:pt x="905" y="216"/>
                    <a:pt x="911" y="210"/>
                    <a:pt x="911" y="204"/>
                  </a:cubicBezTo>
                  <a:lnTo>
                    <a:pt x="911" y="176"/>
                  </a:lnTo>
                  <a:lnTo>
                    <a:pt x="837" y="176"/>
                  </a:lnTo>
                  <a:cubicBezTo>
                    <a:pt x="832" y="176"/>
                    <a:pt x="828" y="172"/>
                    <a:pt x="828" y="167"/>
                  </a:cubicBezTo>
                  <a:lnTo>
                    <a:pt x="828" y="122"/>
                  </a:lnTo>
                  <a:lnTo>
                    <a:pt x="894" y="122"/>
                  </a:lnTo>
                  <a:lnTo>
                    <a:pt x="894" y="83"/>
                  </a:lnTo>
                  <a:lnTo>
                    <a:pt x="828" y="83"/>
                  </a:lnTo>
                  <a:lnTo>
                    <a:pt x="828" y="40"/>
                  </a:lnTo>
                  <a:lnTo>
                    <a:pt x="911" y="40"/>
                  </a:lnTo>
                  <a:lnTo>
                    <a:pt x="911" y="12"/>
                  </a:lnTo>
                  <a:cubicBezTo>
                    <a:pt x="911" y="6"/>
                    <a:pt x="905" y="0"/>
                    <a:pt x="899" y="0"/>
                  </a:cubicBezTo>
                  <a:close/>
                  <a:moveTo>
                    <a:pt x="1144" y="0"/>
                  </a:moveTo>
                  <a:lnTo>
                    <a:pt x="1144" y="0"/>
                  </a:lnTo>
                  <a:lnTo>
                    <a:pt x="1102" y="0"/>
                  </a:lnTo>
                  <a:cubicBezTo>
                    <a:pt x="1092" y="0"/>
                    <a:pt x="1085" y="3"/>
                    <a:pt x="1077" y="12"/>
                  </a:cubicBezTo>
                  <a:cubicBezTo>
                    <a:pt x="1069" y="21"/>
                    <a:pt x="1018" y="80"/>
                    <a:pt x="1018" y="80"/>
                  </a:cubicBezTo>
                  <a:lnTo>
                    <a:pt x="1018" y="0"/>
                  </a:lnTo>
                  <a:lnTo>
                    <a:pt x="960" y="0"/>
                  </a:lnTo>
                  <a:lnTo>
                    <a:pt x="960" y="204"/>
                  </a:lnTo>
                  <a:cubicBezTo>
                    <a:pt x="960" y="210"/>
                    <a:pt x="965" y="216"/>
                    <a:pt x="971" y="216"/>
                  </a:cubicBezTo>
                  <a:lnTo>
                    <a:pt x="1018" y="216"/>
                  </a:lnTo>
                  <a:lnTo>
                    <a:pt x="1018" y="118"/>
                  </a:lnTo>
                  <a:cubicBezTo>
                    <a:pt x="1018" y="118"/>
                    <a:pt x="1061" y="186"/>
                    <a:pt x="1069" y="198"/>
                  </a:cubicBezTo>
                  <a:cubicBezTo>
                    <a:pt x="1076" y="210"/>
                    <a:pt x="1084" y="216"/>
                    <a:pt x="1101" y="216"/>
                  </a:cubicBezTo>
                  <a:lnTo>
                    <a:pt x="1149" y="216"/>
                  </a:lnTo>
                  <a:lnTo>
                    <a:pt x="1067" y="89"/>
                  </a:lnTo>
                  <a:lnTo>
                    <a:pt x="114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1BD20D0D-DCB7-4F85-BCE3-91726ED8BCF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627" y="4584"/>
              <a:ext cx="53" cy="90"/>
            </a:xfrm>
            <a:custGeom>
              <a:avLst/>
              <a:gdLst>
                <a:gd name="T0" fmla="*/ 20 w 88"/>
                <a:gd name="T1" fmla="*/ 77 h 148"/>
                <a:gd name="T2" fmla="*/ 20 w 88"/>
                <a:gd name="T3" fmla="*/ 77 h 148"/>
                <a:gd name="T4" fmla="*/ 33 w 88"/>
                <a:gd name="T5" fmla="*/ 77 h 148"/>
                <a:gd name="T6" fmla="*/ 68 w 88"/>
                <a:gd name="T7" fmla="*/ 46 h 148"/>
                <a:gd name="T8" fmla="*/ 32 w 88"/>
                <a:gd name="T9" fmla="*/ 16 h 148"/>
                <a:gd name="T10" fmla="*/ 20 w 88"/>
                <a:gd name="T11" fmla="*/ 16 h 148"/>
                <a:gd name="T12" fmla="*/ 20 w 88"/>
                <a:gd name="T13" fmla="*/ 77 h 148"/>
                <a:gd name="T14" fmla="*/ 20 w 88"/>
                <a:gd name="T15" fmla="*/ 77 h 148"/>
                <a:gd name="T16" fmla="*/ 32 w 88"/>
                <a:gd name="T17" fmla="*/ 92 h 148"/>
                <a:gd name="T18" fmla="*/ 32 w 88"/>
                <a:gd name="T19" fmla="*/ 92 h 148"/>
                <a:gd name="T20" fmla="*/ 20 w 88"/>
                <a:gd name="T21" fmla="*/ 92 h 148"/>
                <a:gd name="T22" fmla="*/ 20 w 88"/>
                <a:gd name="T23" fmla="*/ 144 h 148"/>
                <a:gd name="T24" fmla="*/ 16 w 88"/>
                <a:gd name="T25" fmla="*/ 148 h 148"/>
                <a:gd name="T26" fmla="*/ 4 w 88"/>
                <a:gd name="T27" fmla="*/ 148 h 148"/>
                <a:gd name="T28" fmla="*/ 0 w 88"/>
                <a:gd name="T29" fmla="*/ 144 h 148"/>
                <a:gd name="T30" fmla="*/ 0 w 88"/>
                <a:gd name="T31" fmla="*/ 5 h 148"/>
                <a:gd name="T32" fmla="*/ 4 w 88"/>
                <a:gd name="T33" fmla="*/ 0 h 148"/>
                <a:gd name="T34" fmla="*/ 32 w 88"/>
                <a:gd name="T35" fmla="*/ 0 h 148"/>
                <a:gd name="T36" fmla="*/ 88 w 88"/>
                <a:gd name="T37" fmla="*/ 45 h 148"/>
                <a:gd name="T38" fmla="*/ 32 w 88"/>
                <a:gd name="T39" fmla="*/ 9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8" h="148">
                  <a:moveTo>
                    <a:pt x="20" y="77"/>
                  </a:moveTo>
                  <a:lnTo>
                    <a:pt x="20" y="77"/>
                  </a:lnTo>
                  <a:lnTo>
                    <a:pt x="33" y="77"/>
                  </a:lnTo>
                  <a:cubicBezTo>
                    <a:pt x="54" y="77"/>
                    <a:pt x="68" y="70"/>
                    <a:pt x="68" y="46"/>
                  </a:cubicBezTo>
                  <a:cubicBezTo>
                    <a:pt x="68" y="22"/>
                    <a:pt x="53" y="16"/>
                    <a:pt x="32" y="16"/>
                  </a:cubicBezTo>
                  <a:lnTo>
                    <a:pt x="20" y="16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32" y="92"/>
                  </a:moveTo>
                  <a:lnTo>
                    <a:pt x="32" y="92"/>
                  </a:lnTo>
                  <a:lnTo>
                    <a:pt x="20" y="92"/>
                  </a:lnTo>
                  <a:lnTo>
                    <a:pt x="20" y="144"/>
                  </a:lnTo>
                  <a:cubicBezTo>
                    <a:pt x="20" y="147"/>
                    <a:pt x="18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32" y="0"/>
                  </a:lnTo>
                  <a:cubicBezTo>
                    <a:pt x="64" y="0"/>
                    <a:pt x="88" y="12"/>
                    <a:pt x="88" y="45"/>
                  </a:cubicBezTo>
                  <a:cubicBezTo>
                    <a:pt x="88" y="78"/>
                    <a:pt x="65" y="92"/>
                    <a:pt x="32" y="9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B0FA9ACF-017A-4A9B-ACD2-F70C4674D0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0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5 w 96"/>
                <a:gd name="T29" fmla="*/ 0 h 148"/>
                <a:gd name="T30" fmla="*/ 35 w 96"/>
                <a:gd name="T31" fmla="*/ 0 h 148"/>
                <a:gd name="T32" fmla="*/ 90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6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35" y="0"/>
                  </a:lnTo>
                  <a:cubicBezTo>
                    <a:pt x="67" y="0"/>
                    <a:pt x="90" y="11"/>
                    <a:pt x="90" y="44"/>
                  </a:cubicBezTo>
                  <a:cubicBezTo>
                    <a:pt x="90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6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BC97B95B-A3D9-4D61-A65D-4CAD7D9ACE9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774" y="4583"/>
              <a:ext cx="75" cy="93"/>
            </a:xfrm>
            <a:custGeom>
              <a:avLst/>
              <a:gdLst>
                <a:gd name="T0" fmla="*/ 63 w 124"/>
                <a:gd name="T1" fmla="*/ 16 h 153"/>
                <a:gd name="T2" fmla="*/ 63 w 124"/>
                <a:gd name="T3" fmla="*/ 16 h 153"/>
                <a:gd name="T4" fmla="*/ 21 w 124"/>
                <a:gd name="T5" fmla="*/ 76 h 153"/>
                <a:gd name="T6" fmla="*/ 62 w 124"/>
                <a:gd name="T7" fmla="*/ 136 h 153"/>
                <a:gd name="T8" fmla="*/ 103 w 124"/>
                <a:gd name="T9" fmla="*/ 76 h 153"/>
                <a:gd name="T10" fmla="*/ 63 w 124"/>
                <a:gd name="T11" fmla="*/ 16 h 153"/>
                <a:gd name="T12" fmla="*/ 61 w 124"/>
                <a:gd name="T13" fmla="*/ 153 h 153"/>
                <a:gd name="T14" fmla="*/ 61 w 124"/>
                <a:gd name="T15" fmla="*/ 153 h 153"/>
                <a:gd name="T16" fmla="*/ 0 w 124"/>
                <a:gd name="T17" fmla="*/ 77 h 153"/>
                <a:gd name="T18" fmla="*/ 63 w 124"/>
                <a:gd name="T19" fmla="*/ 0 h 153"/>
                <a:gd name="T20" fmla="*/ 124 w 124"/>
                <a:gd name="T21" fmla="*/ 75 h 153"/>
                <a:gd name="T22" fmla="*/ 61 w 124"/>
                <a:gd name="T2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153">
                  <a:moveTo>
                    <a:pt x="63" y="16"/>
                  </a:moveTo>
                  <a:lnTo>
                    <a:pt x="63" y="16"/>
                  </a:lnTo>
                  <a:cubicBezTo>
                    <a:pt x="38" y="16"/>
                    <a:pt x="21" y="41"/>
                    <a:pt x="21" y="76"/>
                  </a:cubicBezTo>
                  <a:cubicBezTo>
                    <a:pt x="21" y="114"/>
                    <a:pt x="36" y="136"/>
                    <a:pt x="62" y="136"/>
                  </a:cubicBezTo>
                  <a:cubicBezTo>
                    <a:pt x="86" y="136"/>
                    <a:pt x="103" y="113"/>
                    <a:pt x="103" y="76"/>
                  </a:cubicBezTo>
                  <a:cubicBezTo>
                    <a:pt x="103" y="38"/>
                    <a:pt x="89" y="16"/>
                    <a:pt x="63" y="16"/>
                  </a:cubicBezTo>
                  <a:close/>
                  <a:moveTo>
                    <a:pt x="61" y="153"/>
                  </a:moveTo>
                  <a:lnTo>
                    <a:pt x="61" y="153"/>
                  </a:lnTo>
                  <a:cubicBezTo>
                    <a:pt x="23" y="153"/>
                    <a:pt x="0" y="124"/>
                    <a:pt x="0" y="77"/>
                  </a:cubicBezTo>
                  <a:cubicBezTo>
                    <a:pt x="0" y="30"/>
                    <a:pt x="26" y="0"/>
                    <a:pt x="63" y="0"/>
                  </a:cubicBezTo>
                  <a:cubicBezTo>
                    <a:pt x="103" y="0"/>
                    <a:pt x="124" y="31"/>
                    <a:pt x="124" y="75"/>
                  </a:cubicBezTo>
                  <a:cubicBezTo>
                    <a:pt x="124" y="124"/>
                    <a:pt x="97" y="153"/>
                    <a:pt x="61" y="15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93C8AFFD-7298-412E-BD40-90C9E3F074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8" y="4583"/>
              <a:ext cx="67" cy="93"/>
            </a:xfrm>
            <a:custGeom>
              <a:avLst/>
              <a:gdLst>
                <a:gd name="T0" fmla="*/ 102 w 111"/>
                <a:gd name="T1" fmla="*/ 129 h 153"/>
                <a:gd name="T2" fmla="*/ 102 w 111"/>
                <a:gd name="T3" fmla="*/ 129 h 153"/>
                <a:gd name="T4" fmla="*/ 107 w 111"/>
                <a:gd name="T5" fmla="*/ 131 h 153"/>
                <a:gd name="T6" fmla="*/ 110 w 111"/>
                <a:gd name="T7" fmla="*/ 137 h 153"/>
                <a:gd name="T8" fmla="*/ 108 w 111"/>
                <a:gd name="T9" fmla="*/ 143 h 153"/>
                <a:gd name="T10" fmla="*/ 66 w 111"/>
                <a:gd name="T11" fmla="*/ 153 h 153"/>
                <a:gd name="T12" fmla="*/ 0 w 111"/>
                <a:gd name="T13" fmla="*/ 76 h 153"/>
                <a:gd name="T14" fmla="*/ 68 w 111"/>
                <a:gd name="T15" fmla="*/ 0 h 153"/>
                <a:gd name="T16" fmla="*/ 107 w 111"/>
                <a:gd name="T17" fmla="*/ 9 h 153"/>
                <a:gd name="T18" fmla="*/ 109 w 111"/>
                <a:gd name="T19" fmla="*/ 15 h 153"/>
                <a:gd name="T20" fmla="*/ 105 w 111"/>
                <a:gd name="T21" fmla="*/ 23 h 153"/>
                <a:gd name="T22" fmla="*/ 101 w 111"/>
                <a:gd name="T23" fmla="*/ 24 h 153"/>
                <a:gd name="T24" fmla="*/ 69 w 111"/>
                <a:gd name="T25" fmla="*/ 16 h 153"/>
                <a:gd name="T26" fmla="*/ 21 w 111"/>
                <a:gd name="T27" fmla="*/ 75 h 153"/>
                <a:gd name="T28" fmla="*/ 69 w 111"/>
                <a:gd name="T29" fmla="*/ 137 h 153"/>
                <a:gd name="T30" fmla="*/ 102 w 111"/>
                <a:gd name="T31" fmla="*/ 12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1" h="153">
                  <a:moveTo>
                    <a:pt x="102" y="129"/>
                  </a:moveTo>
                  <a:lnTo>
                    <a:pt x="102" y="129"/>
                  </a:lnTo>
                  <a:cubicBezTo>
                    <a:pt x="105" y="128"/>
                    <a:pt x="106" y="128"/>
                    <a:pt x="107" y="131"/>
                  </a:cubicBezTo>
                  <a:lnTo>
                    <a:pt x="110" y="137"/>
                  </a:lnTo>
                  <a:cubicBezTo>
                    <a:pt x="111" y="140"/>
                    <a:pt x="110" y="142"/>
                    <a:pt x="108" y="143"/>
                  </a:cubicBezTo>
                  <a:cubicBezTo>
                    <a:pt x="94" y="150"/>
                    <a:pt x="81" y="153"/>
                    <a:pt x="66" y="153"/>
                  </a:cubicBezTo>
                  <a:cubicBezTo>
                    <a:pt x="21" y="153"/>
                    <a:pt x="0" y="118"/>
                    <a:pt x="0" y="76"/>
                  </a:cubicBezTo>
                  <a:cubicBezTo>
                    <a:pt x="0" y="35"/>
                    <a:pt x="25" y="0"/>
                    <a:pt x="68" y="0"/>
                  </a:cubicBezTo>
                  <a:cubicBezTo>
                    <a:pt x="82" y="0"/>
                    <a:pt x="95" y="2"/>
                    <a:pt x="107" y="9"/>
                  </a:cubicBezTo>
                  <a:cubicBezTo>
                    <a:pt x="110" y="11"/>
                    <a:pt x="110" y="12"/>
                    <a:pt x="109" y="15"/>
                  </a:cubicBezTo>
                  <a:lnTo>
                    <a:pt x="105" y="23"/>
                  </a:lnTo>
                  <a:cubicBezTo>
                    <a:pt x="105" y="25"/>
                    <a:pt x="103" y="25"/>
                    <a:pt x="101" y="24"/>
                  </a:cubicBezTo>
                  <a:cubicBezTo>
                    <a:pt x="90" y="18"/>
                    <a:pt x="80" y="16"/>
                    <a:pt x="69" y="16"/>
                  </a:cubicBezTo>
                  <a:cubicBezTo>
                    <a:pt x="36" y="16"/>
                    <a:pt x="21" y="46"/>
                    <a:pt x="21" y="75"/>
                  </a:cubicBezTo>
                  <a:cubicBezTo>
                    <a:pt x="21" y="107"/>
                    <a:pt x="36" y="137"/>
                    <a:pt x="69" y="137"/>
                  </a:cubicBezTo>
                  <a:cubicBezTo>
                    <a:pt x="80" y="137"/>
                    <a:pt x="92" y="134"/>
                    <a:pt x="102" y="12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4DBC905B-571E-4C63-BB89-276162A289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" y="4584"/>
              <a:ext cx="71" cy="92"/>
            </a:xfrm>
            <a:custGeom>
              <a:avLst/>
              <a:gdLst>
                <a:gd name="T0" fmla="*/ 118 w 118"/>
                <a:gd name="T1" fmla="*/ 84 h 151"/>
                <a:gd name="T2" fmla="*/ 118 w 118"/>
                <a:gd name="T3" fmla="*/ 84 h 151"/>
                <a:gd name="T4" fmla="*/ 59 w 118"/>
                <a:gd name="T5" fmla="*/ 151 h 151"/>
                <a:gd name="T6" fmla="*/ 0 w 118"/>
                <a:gd name="T7" fmla="*/ 82 h 151"/>
                <a:gd name="T8" fmla="*/ 0 w 118"/>
                <a:gd name="T9" fmla="*/ 5 h 151"/>
                <a:gd name="T10" fmla="*/ 4 w 118"/>
                <a:gd name="T11" fmla="*/ 0 h 151"/>
                <a:gd name="T12" fmla="*/ 16 w 118"/>
                <a:gd name="T13" fmla="*/ 0 h 151"/>
                <a:gd name="T14" fmla="*/ 20 w 118"/>
                <a:gd name="T15" fmla="*/ 5 h 151"/>
                <a:gd name="T16" fmla="*/ 20 w 118"/>
                <a:gd name="T17" fmla="*/ 80 h 151"/>
                <a:gd name="T18" fmla="*/ 59 w 118"/>
                <a:gd name="T19" fmla="*/ 134 h 151"/>
                <a:gd name="T20" fmla="*/ 98 w 118"/>
                <a:gd name="T21" fmla="*/ 80 h 151"/>
                <a:gd name="T22" fmla="*/ 98 w 118"/>
                <a:gd name="T23" fmla="*/ 5 h 151"/>
                <a:gd name="T24" fmla="*/ 102 w 118"/>
                <a:gd name="T25" fmla="*/ 0 h 151"/>
                <a:gd name="T26" fmla="*/ 114 w 118"/>
                <a:gd name="T27" fmla="*/ 0 h 151"/>
                <a:gd name="T28" fmla="*/ 118 w 118"/>
                <a:gd name="T29" fmla="*/ 5 h 151"/>
                <a:gd name="T30" fmla="*/ 118 w 118"/>
                <a:gd name="T31" fmla="*/ 8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51">
                  <a:moveTo>
                    <a:pt x="118" y="84"/>
                  </a:moveTo>
                  <a:lnTo>
                    <a:pt x="118" y="84"/>
                  </a:lnTo>
                  <a:cubicBezTo>
                    <a:pt x="118" y="123"/>
                    <a:pt x="102" y="151"/>
                    <a:pt x="59" y="151"/>
                  </a:cubicBezTo>
                  <a:cubicBezTo>
                    <a:pt x="13" y="151"/>
                    <a:pt x="0" y="124"/>
                    <a:pt x="0" y="82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6" y="0"/>
                  </a:lnTo>
                  <a:cubicBezTo>
                    <a:pt x="19" y="0"/>
                    <a:pt x="20" y="1"/>
                    <a:pt x="20" y="5"/>
                  </a:cubicBezTo>
                  <a:lnTo>
                    <a:pt x="20" y="80"/>
                  </a:lnTo>
                  <a:cubicBezTo>
                    <a:pt x="20" y="109"/>
                    <a:pt x="24" y="134"/>
                    <a:pt x="59" y="134"/>
                  </a:cubicBezTo>
                  <a:cubicBezTo>
                    <a:pt x="94" y="134"/>
                    <a:pt x="98" y="108"/>
                    <a:pt x="98" y="80"/>
                  </a:cubicBez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4" y="0"/>
                  </a:lnTo>
                  <a:cubicBezTo>
                    <a:pt x="117" y="0"/>
                    <a:pt x="118" y="1"/>
                    <a:pt x="118" y="5"/>
                  </a:cubicBezTo>
                  <a:lnTo>
                    <a:pt x="118" y="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B65F4738-0A46-46FE-9E4C-ED460611FE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051" y="4584"/>
              <a:ext cx="58" cy="90"/>
            </a:xfrm>
            <a:custGeom>
              <a:avLst/>
              <a:gdLst>
                <a:gd name="T0" fmla="*/ 20 w 96"/>
                <a:gd name="T1" fmla="*/ 73 h 148"/>
                <a:gd name="T2" fmla="*/ 20 w 96"/>
                <a:gd name="T3" fmla="*/ 73 h 148"/>
                <a:gd name="T4" fmla="*/ 37 w 96"/>
                <a:gd name="T5" fmla="*/ 73 h 148"/>
                <a:gd name="T6" fmla="*/ 69 w 96"/>
                <a:gd name="T7" fmla="*/ 44 h 148"/>
                <a:gd name="T8" fmla="*/ 34 w 96"/>
                <a:gd name="T9" fmla="*/ 16 h 148"/>
                <a:gd name="T10" fmla="*/ 20 w 96"/>
                <a:gd name="T11" fmla="*/ 16 h 148"/>
                <a:gd name="T12" fmla="*/ 20 w 96"/>
                <a:gd name="T13" fmla="*/ 73 h 148"/>
                <a:gd name="T14" fmla="*/ 20 w 96"/>
                <a:gd name="T15" fmla="*/ 73 h 148"/>
                <a:gd name="T16" fmla="*/ 20 w 96"/>
                <a:gd name="T17" fmla="*/ 144 h 148"/>
                <a:gd name="T18" fmla="*/ 20 w 96"/>
                <a:gd name="T19" fmla="*/ 144 h 148"/>
                <a:gd name="T20" fmla="*/ 16 w 96"/>
                <a:gd name="T21" fmla="*/ 148 h 148"/>
                <a:gd name="T22" fmla="*/ 4 w 96"/>
                <a:gd name="T23" fmla="*/ 148 h 148"/>
                <a:gd name="T24" fmla="*/ 0 w 96"/>
                <a:gd name="T25" fmla="*/ 144 h 148"/>
                <a:gd name="T26" fmla="*/ 0 w 96"/>
                <a:gd name="T27" fmla="*/ 5 h 148"/>
                <a:gd name="T28" fmla="*/ 4 w 96"/>
                <a:gd name="T29" fmla="*/ 0 h 148"/>
                <a:gd name="T30" fmla="*/ 35 w 96"/>
                <a:gd name="T31" fmla="*/ 0 h 148"/>
                <a:gd name="T32" fmla="*/ 89 w 96"/>
                <a:gd name="T33" fmla="*/ 44 h 148"/>
                <a:gd name="T34" fmla="*/ 59 w 96"/>
                <a:gd name="T35" fmla="*/ 85 h 148"/>
                <a:gd name="T36" fmla="*/ 95 w 96"/>
                <a:gd name="T37" fmla="*/ 144 h 148"/>
                <a:gd name="T38" fmla="*/ 92 w 96"/>
                <a:gd name="T39" fmla="*/ 148 h 148"/>
                <a:gd name="T40" fmla="*/ 80 w 96"/>
                <a:gd name="T41" fmla="*/ 148 h 148"/>
                <a:gd name="T42" fmla="*/ 73 w 96"/>
                <a:gd name="T43" fmla="*/ 144 h 148"/>
                <a:gd name="T44" fmla="*/ 41 w 96"/>
                <a:gd name="T45" fmla="*/ 88 h 148"/>
                <a:gd name="T46" fmla="*/ 20 w 96"/>
                <a:gd name="T47" fmla="*/ 88 h 148"/>
                <a:gd name="T48" fmla="*/ 20 w 96"/>
                <a:gd name="T49" fmla="*/ 1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148">
                  <a:moveTo>
                    <a:pt x="20" y="73"/>
                  </a:moveTo>
                  <a:lnTo>
                    <a:pt x="20" y="73"/>
                  </a:lnTo>
                  <a:lnTo>
                    <a:pt x="37" y="73"/>
                  </a:lnTo>
                  <a:cubicBezTo>
                    <a:pt x="55" y="73"/>
                    <a:pt x="69" y="63"/>
                    <a:pt x="69" y="44"/>
                  </a:cubicBezTo>
                  <a:cubicBezTo>
                    <a:pt x="69" y="23"/>
                    <a:pt x="56" y="16"/>
                    <a:pt x="34" y="16"/>
                  </a:cubicBezTo>
                  <a:lnTo>
                    <a:pt x="20" y="16"/>
                  </a:lnTo>
                  <a:lnTo>
                    <a:pt x="20" y="73"/>
                  </a:lnTo>
                  <a:lnTo>
                    <a:pt x="20" y="73"/>
                  </a:lnTo>
                  <a:close/>
                  <a:moveTo>
                    <a:pt x="20" y="144"/>
                  </a:moveTo>
                  <a:lnTo>
                    <a:pt x="20" y="144"/>
                  </a:lnTo>
                  <a:cubicBezTo>
                    <a:pt x="20" y="147"/>
                    <a:pt x="19" y="148"/>
                    <a:pt x="16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35" y="0"/>
                  </a:lnTo>
                  <a:cubicBezTo>
                    <a:pt x="67" y="0"/>
                    <a:pt x="89" y="11"/>
                    <a:pt x="89" y="44"/>
                  </a:cubicBezTo>
                  <a:cubicBezTo>
                    <a:pt x="89" y="64"/>
                    <a:pt x="76" y="79"/>
                    <a:pt x="59" y="85"/>
                  </a:cubicBezTo>
                  <a:lnTo>
                    <a:pt x="95" y="144"/>
                  </a:lnTo>
                  <a:cubicBezTo>
                    <a:pt x="96" y="146"/>
                    <a:pt x="95" y="148"/>
                    <a:pt x="92" y="148"/>
                  </a:cubicBezTo>
                  <a:lnTo>
                    <a:pt x="80" y="148"/>
                  </a:lnTo>
                  <a:cubicBezTo>
                    <a:pt x="76" y="148"/>
                    <a:pt x="74" y="147"/>
                    <a:pt x="73" y="144"/>
                  </a:cubicBezTo>
                  <a:lnTo>
                    <a:pt x="41" y="88"/>
                  </a:lnTo>
                  <a:lnTo>
                    <a:pt x="20" y="88"/>
                  </a:lnTo>
                  <a:lnTo>
                    <a:pt x="20" y="14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F12A91C3-B4C5-41CE-AA56-2BF9739713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29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8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5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2 w 84"/>
                <a:gd name="T43" fmla="*/ 12 h 148"/>
                <a:gd name="T44" fmla="*/ 77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5" y="133"/>
                    <a:pt x="28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5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2" y="12"/>
                  </a:lnTo>
                  <a:cubicBezTo>
                    <a:pt x="82" y="15"/>
                    <a:pt x="80" y="16"/>
                    <a:pt x="77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3EA8B065-9230-4793-9062-C2C263F5E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02" y="4584"/>
              <a:ext cx="89" cy="90"/>
            </a:xfrm>
            <a:custGeom>
              <a:avLst/>
              <a:gdLst>
                <a:gd name="T0" fmla="*/ 124 w 148"/>
                <a:gd name="T1" fmla="*/ 38 h 148"/>
                <a:gd name="T2" fmla="*/ 124 w 148"/>
                <a:gd name="T3" fmla="*/ 38 h 148"/>
                <a:gd name="T4" fmla="*/ 83 w 148"/>
                <a:gd name="T5" fmla="*/ 145 h 148"/>
                <a:gd name="T6" fmla="*/ 79 w 148"/>
                <a:gd name="T7" fmla="*/ 148 h 148"/>
                <a:gd name="T8" fmla="*/ 71 w 148"/>
                <a:gd name="T9" fmla="*/ 148 h 148"/>
                <a:gd name="T10" fmla="*/ 67 w 148"/>
                <a:gd name="T11" fmla="*/ 145 h 148"/>
                <a:gd name="T12" fmla="*/ 22 w 148"/>
                <a:gd name="T13" fmla="*/ 38 h 148"/>
                <a:gd name="T14" fmla="*/ 22 w 148"/>
                <a:gd name="T15" fmla="*/ 38 h 148"/>
                <a:gd name="T16" fmla="*/ 19 w 148"/>
                <a:gd name="T17" fmla="*/ 145 h 148"/>
                <a:gd name="T18" fmla="*/ 15 w 148"/>
                <a:gd name="T19" fmla="*/ 148 h 148"/>
                <a:gd name="T20" fmla="*/ 4 w 148"/>
                <a:gd name="T21" fmla="*/ 148 h 148"/>
                <a:gd name="T22" fmla="*/ 1 w 148"/>
                <a:gd name="T23" fmla="*/ 144 h 148"/>
                <a:gd name="T24" fmla="*/ 5 w 148"/>
                <a:gd name="T25" fmla="*/ 4 h 148"/>
                <a:gd name="T26" fmla="*/ 10 w 148"/>
                <a:gd name="T27" fmla="*/ 0 h 148"/>
                <a:gd name="T28" fmla="*/ 19 w 148"/>
                <a:gd name="T29" fmla="*/ 0 h 148"/>
                <a:gd name="T30" fmla="*/ 24 w 148"/>
                <a:gd name="T31" fmla="*/ 3 h 148"/>
                <a:gd name="T32" fmla="*/ 76 w 148"/>
                <a:gd name="T33" fmla="*/ 122 h 148"/>
                <a:gd name="T34" fmla="*/ 76 w 148"/>
                <a:gd name="T35" fmla="*/ 122 h 148"/>
                <a:gd name="T36" fmla="*/ 124 w 148"/>
                <a:gd name="T37" fmla="*/ 4 h 148"/>
                <a:gd name="T38" fmla="*/ 129 w 148"/>
                <a:gd name="T39" fmla="*/ 0 h 148"/>
                <a:gd name="T40" fmla="*/ 139 w 148"/>
                <a:gd name="T41" fmla="*/ 0 h 148"/>
                <a:gd name="T42" fmla="*/ 142 w 148"/>
                <a:gd name="T43" fmla="*/ 4 h 148"/>
                <a:gd name="T44" fmla="*/ 148 w 148"/>
                <a:gd name="T45" fmla="*/ 144 h 148"/>
                <a:gd name="T46" fmla="*/ 144 w 148"/>
                <a:gd name="T47" fmla="*/ 148 h 148"/>
                <a:gd name="T48" fmla="*/ 132 w 148"/>
                <a:gd name="T49" fmla="*/ 148 h 148"/>
                <a:gd name="T50" fmla="*/ 128 w 148"/>
                <a:gd name="T51" fmla="*/ 144 h 148"/>
                <a:gd name="T52" fmla="*/ 124 w 148"/>
                <a:gd name="T53" fmla="*/ 38 h 148"/>
                <a:gd name="T54" fmla="*/ 124 w 148"/>
                <a:gd name="T55" fmla="*/ 3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148">
                  <a:moveTo>
                    <a:pt x="124" y="38"/>
                  </a:moveTo>
                  <a:lnTo>
                    <a:pt x="124" y="38"/>
                  </a:lnTo>
                  <a:lnTo>
                    <a:pt x="83" y="145"/>
                  </a:lnTo>
                  <a:cubicBezTo>
                    <a:pt x="82" y="148"/>
                    <a:pt x="80" y="148"/>
                    <a:pt x="79" y="148"/>
                  </a:cubicBezTo>
                  <a:lnTo>
                    <a:pt x="71" y="148"/>
                  </a:lnTo>
                  <a:cubicBezTo>
                    <a:pt x="69" y="148"/>
                    <a:pt x="68" y="148"/>
                    <a:pt x="67" y="145"/>
                  </a:cubicBezTo>
                  <a:lnTo>
                    <a:pt x="22" y="38"/>
                  </a:lnTo>
                  <a:lnTo>
                    <a:pt x="22" y="38"/>
                  </a:lnTo>
                  <a:lnTo>
                    <a:pt x="19" y="145"/>
                  </a:lnTo>
                  <a:cubicBezTo>
                    <a:pt x="19" y="148"/>
                    <a:pt x="18" y="148"/>
                    <a:pt x="15" y="148"/>
                  </a:cubicBezTo>
                  <a:lnTo>
                    <a:pt x="4" y="148"/>
                  </a:lnTo>
                  <a:cubicBezTo>
                    <a:pt x="2" y="148"/>
                    <a:pt x="0" y="148"/>
                    <a:pt x="1" y="144"/>
                  </a:cubicBezTo>
                  <a:lnTo>
                    <a:pt x="5" y="4"/>
                  </a:lnTo>
                  <a:cubicBezTo>
                    <a:pt x="6" y="1"/>
                    <a:pt x="7" y="0"/>
                    <a:pt x="10" y="0"/>
                  </a:cubicBezTo>
                  <a:lnTo>
                    <a:pt x="19" y="0"/>
                  </a:lnTo>
                  <a:cubicBezTo>
                    <a:pt x="22" y="0"/>
                    <a:pt x="23" y="1"/>
                    <a:pt x="24" y="3"/>
                  </a:cubicBezTo>
                  <a:lnTo>
                    <a:pt x="76" y="122"/>
                  </a:lnTo>
                  <a:lnTo>
                    <a:pt x="76" y="122"/>
                  </a:lnTo>
                  <a:lnTo>
                    <a:pt x="124" y="4"/>
                  </a:lnTo>
                  <a:cubicBezTo>
                    <a:pt x="125" y="1"/>
                    <a:pt x="126" y="0"/>
                    <a:pt x="129" y="0"/>
                  </a:cubicBezTo>
                  <a:lnTo>
                    <a:pt x="139" y="0"/>
                  </a:lnTo>
                  <a:cubicBezTo>
                    <a:pt x="141" y="0"/>
                    <a:pt x="142" y="1"/>
                    <a:pt x="142" y="4"/>
                  </a:cubicBezTo>
                  <a:lnTo>
                    <a:pt x="148" y="144"/>
                  </a:lnTo>
                  <a:cubicBezTo>
                    <a:pt x="148" y="147"/>
                    <a:pt x="148" y="148"/>
                    <a:pt x="144" y="148"/>
                  </a:cubicBezTo>
                  <a:lnTo>
                    <a:pt x="132" y="148"/>
                  </a:lnTo>
                  <a:cubicBezTo>
                    <a:pt x="129" y="148"/>
                    <a:pt x="128" y="147"/>
                    <a:pt x="128" y="144"/>
                  </a:cubicBezTo>
                  <a:lnTo>
                    <a:pt x="124" y="38"/>
                  </a:lnTo>
                  <a:lnTo>
                    <a:pt x="124" y="3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84C23486-48B3-44FC-9DE0-F3E914E014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16" y="4584"/>
              <a:ext cx="51" cy="90"/>
            </a:xfrm>
            <a:custGeom>
              <a:avLst/>
              <a:gdLst>
                <a:gd name="T0" fmla="*/ 20 w 84"/>
                <a:gd name="T1" fmla="*/ 63 h 148"/>
                <a:gd name="T2" fmla="*/ 20 w 84"/>
                <a:gd name="T3" fmla="*/ 63 h 148"/>
                <a:gd name="T4" fmla="*/ 71 w 84"/>
                <a:gd name="T5" fmla="*/ 63 h 148"/>
                <a:gd name="T6" fmla="*/ 75 w 84"/>
                <a:gd name="T7" fmla="*/ 66 h 148"/>
                <a:gd name="T8" fmla="*/ 75 w 84"/>
                <a:gd name="T9" fmla="*/ 75 h 148"/>
                <a:gd name="T10" fmla="*/ 71 w 84"/>
                <a:gd name="T11" fmla="*/ 78 h 148"/>
                <a:gd name="T12" fmla="*/ 20 w 84"/>
                <a:gd name="T13" fmla="*/ 78 h 148"/>
                <a:gd name="T14" fmla="*/ 20 w 84"/>
                <a:gd name="T15" fmla="*/ 124 h 148"/>
                <a:gd name="T16" fmla="*/ 22 w 84"/>
                <a:gd name="T17" fmla="*/ 131 h 148"/>
                <a:gd name="T18" fmla="*/ 29 w 84"/>
                <a:gd name="T19" fmla="*/ 133 h 148"/>
                <a:gd name="T20" fmla="*/ 80 w 84"/>
                <a:gd name="T21" fmla="*/ 133 h 148"/>
                <a:gd name="T22" fmla="*/ 84 w 84"/>
                <a:gd name="T23" fmla="*/ 136 h 148"/>
                <a:gd name="T24" fmla="*/ 84 w 84"/>
                <a:gd name="T25" fmla="*/ 145 h 148"/>
                <a:gd name="T26" fmla="*/ 80 w 84"/>
                <a:gd name="T27" fmla="*/ 148 h 148"/>
                <a:gd name="T28" fmla="*/ 25 w 84"/>
                <a:gd name="T29" fmla="*/ 148 h 148"/>
                <a:gd name="T30" fmla="*/ 6 w 84"/>
                <a:gd name="T31" fmla="*/ 142 h 148"/>
                <a:gd name="T32" fmla="*/ 0 w 84"/>
                <a:gd name="T33" fmla="*/ 125 h 148"/>
                <a:gd name="T34" fmla="*/ 0 w 84"/>
                <a:gd name="T35" fmla="*/ 5 h 148"/>
                <a:gd name="T36" fmla="*/ 5 w 84"/>
                <a:gd name="T37" fmla="*/ 0 h 148"/>
                <a:gd name="T38" fmla="*/ 80 w 84"/>
                <a:gd name="T39" fmla="*/ 0 h 148"/>
                <a:gd name="T40" fmla="*/ 84 w 84"/>
                <a:gd name="T41" fmla="*/ 4 h 148"/>
                <a:gd name="T42" fmla="*/ 83 w 84"/>
                <a:gd name="T43" fmla="*/ 12 h 148"/>
                <a:gd name="T44" fmla="*/ 78 w 84"/>
                <a:gd name="T45" fmla="*/ 16 h 148"/>
                <a:gd name="T46" fmla="*/ 20 w 84"/>
                <a:gd name="T47" fmla="*/ 16 h 148"/>
                <a:gd name="T48" fmla="*/ 20 w 84"/>
                <a:gd name="T49" fmla="*/ 63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148">
                  <a:moveTo>
                    <a:pt x="20" y="63"/>
                  </a:moveTo>
                  <a:lnTo>
                    <a:pt x="20" y="63"/>
                  </a:lnTo>
                  <a:lnTo>
                    <a:pt x="71" y="63"/>
                  </a:lnTo>
                  <a:cubicBezTo>
                    <a:pt x="74" y="63"/>
                    <a:pt x="75" y="64"/>
                    <a:pt x="75" y="66"/>
                  </a:cubicBezTo>
                  <a:lnTo>
                    <a:pt x="75" y="75"/>
                  </a:lnTo>
                  <a:cubicBezTo>
                    <a:pt x="75" y="78"/>
                    <a:pt x="74" y="78"/>
                    <a:pt x="71" y="78"/>
                  </a:cubicBezTo>
                  <a:lnTo>
                    <a:pt x="20" y="78"/>
                  </a:lnTo>
                  <a:lnTo>
                    <a:pt x="20" y="124"/>
                  </a:lnTo>
                  <a:cubicBezTo>
                    <a:pt x="20" y="127"/>
                    <a:pt x="21" y="129"/>
                    <a:pt x="22" y="131"/>
                  </a:cubicBezTo>
                  <a:cubicBezTo>
                    <a:pt x="23" y="132"/>
                    <a:pt x="26" y="133"/>
                    <a:pt x="29" y="133"/>
                  </a:cubicBezTo>
                  <a:lnTo>
                    <a:pt x="80" y="133"/>
                  </a:lnTo>
                  <a:cubicBezTo>
                    <a:pt x="83" y="133"/>
                    <a:pt x="84" y="134"/>
                    <a:pt x="84" y="136"/>
                  </a:cubicBezTo>
                  <a:lnTo>
                    <a:pt x="84" y="145"/>
                  </a:lnTo>
                  <a:cubicBezTo>
                    <a:pt x="84" y="148"/>
                    <a:pt x="83" y="148"/>
                    <a:pt x="80" y="148"/>
                  </a:cubicBezTo>
                  <a:lnTo>
                    <a:pt x="25" y="148"/>
                  </a:lnTo>
                  <a:cubicBezTo>
                    <a:pt x="16" y="148"/>
                    <a:pt x="10" y="146"/>
                    <a:pt x="6" y="142"/>
                  </a:cubicBezTo>
                  <a:cubicBezTo>
                    <a:pt x="2" y="139"/>
                    <a:pt x="0" y="133"/>
                    <a:pt x="0" y="125"/>
                  </a:cubicBezTo>
                  <a:lnTo>
                    <a:pt x="0" y="5"/>
                  </a:lnTo>
                  <a:cubicBezTo>
                    <a:pt x="0" y="2"/>
                    <a:pt x="2" y="0"/>
                    <a:pt x="5" y="0"/>
                  </a:cubicBezTo>
                  <a:lnTo>
                    <a:pt x="80" y="0"/>
                  </a:lnTo>
                  <a:cubicBezTo>
                    <a:pt x="83" y="0"/>
                    <a:pt x="84" y="2"/>
                    <a:pt x="84" y="4"/>
                  </a:cubicBezTo>
                  <a:lnTo>
                    <a:pt x="83" y="12"/>
                  </a:lnTo>
                  <a:cubicBezTo>
                    <a:pt x="82" y="15"/>
                    <a:pt x="81" y="16"/>
                    <a:pt x="78" y="16"/>
                  </a:cubicBezTo>
                  <a:lnTo>
                    <a:pt x="20" y="16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32C32B68-1357-4F03-902A-A30B63DDFF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89" y="4584"/>
              <a:ext cx="70" cy="90"/>
            </a:xfrm>
            <a:custGeom>
              <a:avLst/>
              <a:gdLst>
                <a:gd name="T0" fmla="*/ 98 w 116"/>
                <a:gd name="T1" fmla="*/ 116 h 148"/>
                <a:gd name="T2" fmla="*/ 98 w 116"/>
                <a:gd name="T3" fmla="*/ 116 h 148"/>
                <a:gd name="T4" fmla="*/ 98 w 116"/>
                <a:gd name="T5" fmla="*/ 5 h 148"/>
                <a:gd name="T6" fmla="*/ 102 w 116"/>
                <a:gd name="T7" fmla="*/ 0 h 148"/>
                <a:gd name="T8" fmla="*/ 112 w 116"/>
                <a:gd name="T9" fmla="*/ 0 h 148"/>
                <a:gd name="T10" fmla="*/ 116 w 116"/>
                <a:gd name="T11" fmla="*/ 5 h 148"/>
                <a:gd name="T12" fmla="*/ 116 w 116"/>
                <a:gd name="T13" fmla="*/ 144 h 148"/>
                <a:gd name="T14" fmla="*/ 112 w 116"/>
                <a:gd name="T15" fmla="*/ 148 h 148"/>
                <a:gd name="T16" fmla="*/ 103 w 116"/>
                <a:gd name="T17" fmla="*/ 148 h 148"/>
                <a:gd name="T18" fmla="*/ 96 w 116"/>
                <a:gd name="T19" fmla="*/ 144 h 148"/>
                <a:gd name="T20" fmla="*/ 19 w 116"/>
                <a:gd name="T21" fmla="*/ 34 h 148"/>
                <a:gd name="T22" fmla="*/ 18 w 116"/>
                <a:gd name="T23" fmla="*/ 34 h 148"/>
                <a:gd name="T24" fmla="*/ 18 w 116"/>
                <a:gd name="T25" fmla="*/ 144 h 148"/>
                <a:gd name="T26" fmla="*/ 14 w 116"/>
                <a:gd name="T27" fmla="*/ 148 h 148"/>
                <a:gd name="T28" fmla="*/ 4 w 116"/>
                <a:gd name="T29" fmla="*/ 148 h 148"/>
                <a:gd name="T30" fmla="*/ 0 w 116"/>
                <a:gd name="T31" fmla="*/ 144 h 148"/>
                <a:gd name="T32" fmla="*/ 0 w 116"/>
                <a:gd name="T33" fmla="*/ 5 h 148"/>
                <a:gd name="T34" fmla="*/ 4 w 116"/>
                <a:gd name="T35" fmla="*/ 0 h 148"/>
                <a:gd name="T36" fmla="*/ 13 w 116"/>
                <a:gd name="T37" fmla="*/ 0 h 148"/>
                <a:gd name="T38" fmla="*/ 20 w 116"/>
                <a:gd name="T39" fmla="*/ 5 h 148"/>
                <a:gd name="T40" fmla="*/ 98 w 116"/>
                <a:gd name="T41" fmla="*/ 116 h 148"/>
                <a:gd name="T42" fmla="*/ 98 w 116"/>
                <a:gd name="T43" fmla="*/ 1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6" h="148">
                  <a:moveTo>
                    <a:pt x="98" y="116"/>
                  </a:moveTo>
                  <a:lnTo>
                    <a:pt x="98" y="116"/>
                  </a:lnTo>
                  <a:lnTo>
                    <a:pt x="98" y="5"/>
                  </a:lnTo>
                  <a:cubicBezTo>
                    <a:pt x="98" y="2"/>
                    <a:pt x="99" y="0"/>
                    <a:pt x="102" y="0"/>
                  </a:cubicBezTo>
                  <a:lnTo>
                    <a:pt x="112" y="0"/>
                  </a:lnTo>
                  <a:cubicBezTo>
                    <a:pt x="115" y="0"/>
                    <a:pt x="116" y="1"/>
                    <a:pt x="116" y="5"/>
                  </a:cubicBezTo>
                  <a:lnTo>
                    <a:pt x="116" y="144"/>
                  </a:lnTo>
                  <a:cubicBezTo>
                    <a:pt x="116" y="147"/>
                    <a:pt x="115" y="148"/>
                    <a:pt x="112" y="148"/>
                  </a:cubicBezTo>
                  <a:lnTo>
                    <a:pt x="103" y="148"/>
                  </a:lnTo>
                  <a:cubicBezTo>
                    <a:pt x="100" y="148"/>
                    <a:pt x="98" y="147"/>
                    <a:pt x="96" y="144"/>
                  </a:cubicBezTo>
                  <a:lnTo>
                    <a:pt x="19" y="34"/>
                  </a:lnTo>
                  <a:lnTo>
                    <a:pt x="18" y="34"/>
                  </a:lnTo>
                  <a:lnTo>
                    <a:pt x="18" y="144"/>
                  </a:lnTo>
                  <a:cubicBezTo>
                    <a:pt x="18" y="147"/>
                    <a:pt x="17" y="148"/>
                    <a:pt x="14" y="148"/>
                  </a:cubicBezTo>
                  <a:lnTo>
                    <a:pt x="4" y="148"/>
                  </a:lnTo>
                  <a:cubicBezTo>
                    <a:pt x="1" y="148"/>
                    <a:pt x="0" y="147"/>
                    <a:pt x="0" y="144"/>
                  </a:cubicBezTo>
                  <a:lnTo>
                    <a:pt x="0" y="5"/>
                  </a:lnTo>
                  <a:cubicBezTo>
                    <a:pt x="0" y="2"/>
                    <a:pt x="1" y="0"/>
                    <a:pt x="4" y="0"/>
                  </a:cubicBezTo>
                  <a:lnTo>
                    <a:pt x="13" y="0"/>
                  </a:lnTo>
                  <a:cubicBezTo>
                    <a:pt x="16" y="0"/>
                    <a:pt x="18" y="1"/>
                    <a:pt x="20" y="5"/>
                  </a:cubicBezTo>
                  <a:lnTo>
                    <a:pt x="98" y="116"/>
                  </a:lnTo>
                  <a:lnTo>
                    <a:pt x="98" y="1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654B86F4-F15C-480D-9F90-E2A05C29F1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78" y="4584"/>
              <a:ext cx="67" cy="90"/>
            </a:xfrm>
            <a:custGeom>
              <a:avLst/>
              <a:gdLst>
                <a:gd name="T0" fmla="*/ 4 w 112"/>
                <a:gd name="T1" fmla="*/ 16 h 148"/>
                <a:gd name="T2" fmla="*/ 4 w 112"/>
                <a:gd name="T3" fmla="*/ 16 h 148"/>
                <a:gd name="T4" fmla="*/ 0 w 112"/>
                <a:gd name="T5" fmla="*/ 12 h 148"/>
                <a:gd name="T6" fmla="*/ 0 w 112"/>
                <a:gd name="T7" fmla="*/ 4 h 148"/>
                <a:gd name="T8" fmla="*/ 4 w 112"/>
                <a:gd name="T9" fmla="*/ 0 h 148"/>
                <a:gd name="T10" fmla="*/ 108 w 112"/>
                <a:gd name="T11" fmla="*/ 0 h 148"/>
                <a:gd name="T12" fmla="*/ 112 w 112"/>
                <a:gd name="T13" fmla="*/ 4 h 148"/>
                <a:gd name="T14" fmla="*/ 111 w 112"/>
                <a:gd name="T15" fmla="*/ 12 h 148"/>
                <a:gd name="T16" fmla="*/ 106 w 112"/>
                <a:gd name="T17" fmla="*/ 16 h 148"/>
                <a:gd name="T18" fmla="*/ 65 w 112"/>
                <a:gd name="T19" fmla="*/ 16 h 148"/>
                <a:gd name="T20" fmla="*/ 65 w 112"/>
                <a:gd name="T21" fmla="*/ 144 h 148"/>
                <a:gd name="T22" fmla="*/ 61 w 112"/>
                <a:gd name="T23" fmla="*/ 148 h 148"/>
                <a:gd name="T24" fmla="*/ 49 w 112"/>
                <a:gd name="T25" fmla="*/ 148 h 148"/>
                <a:gd name="T26" fmla="*/ 45 w 112"/>
                <a:gd name="T27" fmla="*/ 144 h 148"/>
                <a:gd name="T28" fmla="*/ 45 w 112"/>
                <a:gd name="T29" fmla="*/ 16 h 148"/>
                <a:gd name="T30" fmla="*/ 4 w 112"/>
                <a:gd name="T31" fmla="*/ 1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48">
                  <a:moveTo>
                    <a:pt x="4" y="16"/>
                  </a:moveTo>
                  <a:lnTo>
                    <a:pt x="4" y="16"/>
                  </a:lnTo>
                  <a:cubicBezTo>
                    <a:pt x="1" y="16"/>
                    <a:pt x="0" y="15"/>
                    <a:pt x="0" y="12"/>
                  </a:cubicBezTo>
                  <a:lnTo>
                    <a:pt x="0" y="4"/>
                  </a:lnTo>
                  <a:cubicBezTo>
                    <a:pt x="0" y="1"/>
                    <a:pt x="1" y="0"/>
                    <a:pt x="4" y="0"/>
                  </a:cubicBezTo>
                  <a:lnTo>
                    <a:pt x="108" y="0"/>
                  </a:lnTo>
                  <a:cubicBezTo>
                    <a:pt x="111" y="0"/>
                    <a:pt x="112" y="2"/>
                    <a:pt x="112" y="4"/>
                  </a:cubicBezTo>
                  <a:lnTo>
                    <a:pt x="111" y="12"/>
                  </a:lnTo>
                  <a:cubicBezTo>
                    <a:pt x="110" y="15"/>
                    <a:pt x="109" y="16"/>
                    <a:pt x="106" y="16"/>
                  </a:cubicBezTo>
                  <a:lnTo>
                    <a:pt x="65" y="16"/>
                  </a:lnTo>
                  <a:lnTo>
                    <a:pt x="65" y="144"/>
                  </a:lnTo>
                  <a:cubicBezTo>
                    <a:pt x="65" y="147"/>
                    <a:pt x="64" y="148"/>
                    <a:pt x="61" y="148"/>
                  </a:cubicBezTo>
                  <a:lnTo>
                    <a:pt x="49" y="148"/>
                  </a:lnTo>
                  <a:cubicBezTo>
                    <a:pt x="46" y="148"/>
                    <a:pt x="45" y="147"/>
                    <a:pt x="45" y="144"/>
                  </a:cubicBezTo>
                  <a:lnTo>
                    <a:pt x="45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78D524B8-5969-4709-9028-3C7B63DEF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621" y="4336"/>
              <a:ext cx="137" cy="182"/>
            </a:xfrm>
            <a:custGeom>
              <a:avLst/>
              <a:gdLst>
                <a:gd name="T0" fmla="*/ 145 w 228"/>
                <a:gd name="T1" fmla="*/ 158 h 300"/>
                <a:gd name="T2" fmla="*/ 145 w 228"/>
                <a:gd name="T3" fmla="*/ 158 h 300"/>
                <a:gd name="T4" fmla="*/ 137 w 228"/>
                <a:gd name="T5" fmla="*/ 152 h 300"/>
                <a:gd name="T6" fmla="*/ 137 w 228"/>
                <a:gd name="T7" fmla="*/ 135 h 300"/>
                <a:gd name="T8" fmla="*/ 145 w 228"/>
                <a:gd name="T9" fmla="*/ 128 h 300"/>
                <a:gd name="T10" fmla="*/ 219 w 228"/>
                <a:gd name="T11" fmla="*/ 128 h 300"/>
                <a:gd name="T12" fmla="*/ 228 w 228"/>
                <a:gd name="T13" fmla="*/ 137 h 300"/>
                <a:gd name="T14" fmla="*/ 228 w 228"/>
                <a:gd name="T15" fmla="*/ 264 h 300"/>
                <a:gd name="T16" fmla="*/ 219 w 228"/>
                <a:gd name="T17" fmla="*/ 281 h 300"/>
                <a:gd name="T18" fmla="*/ 136 w 228"/>
                <a:gd name="T19" fmla="*/ 300 h 300"/>
                <a:gd name="T20" fmla="*/ 0 w 228"/>
                <a:gd name="T21" fmla="*/ 150 h 300"/>
                <a:gd name="T22" fmla="*/ 141 w 228"/>
                <a:gd name="T23" fmla="*/ 0 h 300"/>
                <a:gd name="T24" fmla="*/ 211 w 228"/>
                <a:gd name="T25" fmla="*/ 13 h 300"/>
                <a:gd name="T26" fmla="*/ 216 w 228"/>
                <a:gd name="T27" fmla="*/ 23 h 300"/>
                <a:gd name="T28" fmla="*/ 210 w 228"/>
                <a:gd name="T29" fmla="*/ 40 h 300"/>
                <a:gd name="T30" fmla="*/ 200 w 228"/>
                <a:gd name="T31" fmla="*/ 44 h 300"/>
                <a:gd name="T32" fmla="*/ 143 w 228"/>
                <a:gd name="T33" fmla="*/ 32 h 300"/>
                <a:gd name="T34" fmla="*/ 42 w 228"/>
                <a:gd name="T35" fmla="*/ 149 h 300"/>
                <a:gd name="T36" fmla="*/ 135 w 228"/>
                <a:gd name="T37" fmla="*/ 269 h 300"/>
                <a:gd name="T38" fmla="*/ 189 w 228"/>
                <a:gd name="T39" fmla="*/ 259 h 300"/>
                <a:gd name="T40" fmla="*/ 189 w 228"/>
                <a:gd name="T41" fmla="*/ 158 h 300"/>
                <a:gd name="T42" fmla="*/ 145 w 228"/>
                <a:gd name="T43" fmla="*/ 1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8" h="300">
                  <a:moveTo>
                    <a:pt x="145" y="158"/>
                  </a:moveTo>
                  <a:lnTo>
                    <a:pt x="145" y="158"/>
                  </a:lnTo>
                  <a:cubicBezTo>
                    <a:pt x="139" y="158"/>
                    <a:pt x="137" y="157"/>
                    <a:pt x="137" y="152"/>
                  </a:cubicBezTo>
                  <a:lnTo>
                    <a:pt x="137" y="135"/>
                  </a:lnTo>
                  <a:cubicBezTo>
                    <a:pt x="137" y="130"/>
                    <a:pt x="139" y="128"/>
                    <a:pt x="145" y="128"/>
                  </a:cubicBezTo>
                  <a:lnTo>
                    <a:pt x="219" y="128"/>
                  </a:lnTo>
                  <a:cubicBezTo>
                    <a:pt x="225" y="128"/>
                    <a:pt x="228" y="130"/>
                    <a:pt x="228" y="137"/>
                  </a:cubicBezTo>
                  <a:lnTo>
                    <a:pt x="228" y="264"/>
                  </a:lnTo>
                  <a:cubicBezTo>
                    <a:pt x="228" y="273"/>
                    <a:pt x="226" y="276"/>
                    <a:pt x="219" y="281"/>
                  </a:cubicBezTo>
                  <a:cubicBezTo>
                    <a:pt x="198" y="292"/>
                    <a:pt x="164" y="300"/>
                    <a:pt x="136" y="300"/>
                  </a:cubicBezTo>
                  <a:cubicBezTo>
                    <a:pt x="45" y="300"/>
                    <a:pt x="0" y="238"/>
                    <a:pt x="0" y="150"/>
                  </a:cubicBezTo>
                  <a:cubicBezTo>
                    <a:pt x="0" y="65"/>
                    <a:pt x="53" y="0"/>
                    <a:pt x="141" y="0"/>
                  </a:cubicBezTo>
                  <a:cubicBezTo>
                    <a:pt x="163" y="0"/>
                    <a:pt x="190" y="4"/>
                    <a:pt x="211" y="13"/>
                  </a:cubicBezTo>
                  <a:cubicBezTo>
                    <a:pt x="217" y="16"/>
                    <a:pt x="217" y="18"/>
                    <a:pt x="216" y="23"/>
                  </a:cubicBezTo>
                  <a:lnTo>
                    <a:pt x="210" y="40"/>
                  </a:lnTo>
                  <a:cubicBezTo>
                    <a:pt x="208" y="45"/>
                    <a:pt x="204" y="45"/>
                    <a:pt x="200" y="44"/>
                  </a:cubicBezTo>
                  <a:cubicBezTo>
                    <a:pt x="184" y="37"/>
                    <a:pt x="160" y="32"/>
                    <a:pt x="143" y="32"/>
                  </a:cubicBezTo>
                  <a:cubicBezTo>
                    <a:pt x="76" y="32"/>
                    <a:pt x="42" y="85"/>
                    <a:pt x="42" y="149"/>
                  </a:cubicBezTo>
                  <a:cubicBezTo>
                    <a:pt x="42" y="213"/>
                    <a:pt x="70" y="269"/>
                    <a:pt x="135" y="269"/>
                  </a:cubicBezTo>
                  <a:cubicBezTo>
                    <a:pt x="154" y="269"/>
                    <a:pt x="174" y="266"/>
                    <a:pt x="189" y="259"/>
                  </a:cubicBezTo>
                  <a:lnTo>
                    <a:pt x="189" y="158"/>
                  </a:lnTo>
                  <a:lnTo>
                    <a:pt x="145" y="158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9F6AB45B-4FD3-4885-A2DC-420CB662E5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10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1" y="290"/>
                    <a:pt x="19" y="286"/>
                    <a:pt x="11" y="278"/>
                  </a:cubicBezTo>
                  <a:cubicBezTo>
                    <a:pt x="4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8" name="Freeform 20">
              <a:extLst>
                <a:ext uri="{FF2B5EF4-FFF2-40B4-BE49-F238E27FC236}">
                  <a16:creationId xmlns:a16="http://schemas.microsoft.com/office/drawing/2014/main" id="{8C40B81B-033B-4A2F-840F-0F20D081BEC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27" y="4336"/>
              <a:ext cx="147" cy="182"/>
            </a:xfrm>
            <a:custGeom>
              <a:avLst/>
              <a:gdLst>
                <a:gd name="T0" fmla="*/ 123 w 244"/>
                <a:gd name="T1" fmla="*/ 32 h 300"/>
                <a:gd name="T2" fmla="*/ 123 w 244"/>
                <a:gd name="T3" fmla="*/ 32 h 300"/>
                <a:gd name="T4" fmla="*/ 41 w 244"/>
                <a:gd name="T5" fmla="*/ 150 h 300"/>
                <a:gd name="T6" fmla="*/ 121 w 244"/>
                <a:gd name="T7" fmla="*/ 267 h 300"/>
                <a:gd name="T8" fmla="*/ 202 w 244"/>
                <a:gd name="T9" fmla="*/ 149 h 300"/>
                <a:gd name="T10" fmla="*/ 123 w 244"/>
                <a:gd name="T11" fmla="*/ 32 h 300"/>
                <a:gd name="T12" fmla="*/ 120 w 244"/>
                <a:gd name="T13" fmla="*/ 300 h 300"/>
                <a:gd name="T14" fmla="*/ 120 w 244"/>
                <a:gd name="T15" fmla="*/ 300 h 300"/>
                <a:gd name="T16" fmla="*/ 0 w 244"/>
                <a:gd name="T17" fmla="*/ 151 h 300"/>
                <a:gd name="T18" fmla="*/ 123 w 244"/>
                <a:gd name="T19" fmla="*/ 0 h 300"/>
                <a:gd name="T20" fmla="*/ 244 w 244"/>
                <a:gd name="T21" fmla="*/ 148 h 300"/>
                <a:gd name="T22" fmla="*/ 120 w 244"/>
                <a:gd name="T23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4" h="300">
                  <a:moveTo>
                    <a:pt x="123" y="32"/>
                  </a:moveTo>
                  <a:lnTo>
                    <a:pt x="123" y="32"/>
                  </a:lnTo>
                  <a:cubicBezTo>
                    <a:pt x="74" y="32"/>
                    <a:pt x="41" y="80"/>
                    <a:pt x="41" y="150"/>
                  </a:cubicBezTo>
                  <a:cubicBezTo>
                    <a:pt x="41" y="224"/>
                    <a:pt x="71" y="267"/>
                    <a:pt x="121" y="267"/>
                  </a:cubicBezTo>
                  <a:cubicBezTo>
                    <a:pt x="169" y="267"/>
                    <a:pt x="202" y="222"/>
                    <a:pt x="202" y="149"/>
                  </a:cubicBezTo>
                  <a:cubicBezTo>
                    <a:pt x="202" y="75"/>
                    <a:pt x="174" y="32"/>
                    <a:pt x="123" y="32"/>
                  </a:cubicBezTo>
                  <a:close/>
                  <a:moveTo>
                    <a:pt x="120" y="300"/>
                  </a:moveTo>
                  <a:lnTo>
                    <a:pt x="120" y="300"/>
                  </a:lnTo>
                  <a:cubicBezTo>
                    <a:pt x="44" y="300"/>
                    <a:pt x="0" y="243"/>
                    <a:pt x="0" y="151"/>
                  </a:cubicBezTo>
                  <a:cubicBezTo>
                    <a:pt x="0" y="60"/>
                    <a:pt x="50" y="0"/>
                    <a:pt x="123" y="0"/>
                  </a:cubicBezTo>
                  <a:cubicBezTo>
                    <a:pt x="201" y="0"/>
                    <a:pt x="244" y="61"/>
                    <a:pt x="244" y="148"/>
                  </a:cubicBezTo>
                  <a:cubicBezTo>
                    <a:pt x="244" y="244"/>
                    <a:pt x="190" y="300"/>
                    <a:pt x="120" y="30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59" name="Freeform 21">
              <a:extLst>
                <a:ext uri="{FF2B5EF4-FFF2-40B4-BE49-F238E27FC236}">
                  <a16:creationId xmlns:a16="http://schemas.microsoft.com/office/drawing/2014/main" id="{F9CBD860-75A7-4AD3-AE32-2F71D6E015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114" y="4339"/>
              <a:ext cx="114" cy="176"/>
            </a:xfrm>
            <a:custGeom>
              <a:avLst/>
              <a:gdLst>
                <a:gd name="T0" fmla="*/ 75 w 189"/>
                <a:gd name="T1" fmla="*/ 260 h 290"/>
                <a:gd name="T2" fmla="*/ 75 w 189"/>
                <a:gd name="T3" fmla="*/ 260 h 290"/>
                <a:gd name="T4" fmla="*/ 149 w 189"/>
                <a:gd name="T5" fmla="*/ 207 h 290"/>
                <a:gd name="T6" fmla="*/ 74 w 189"/>
                <a:gd name="T7" fmla="*/ 152 h 290"/>
                <a:gd name="T8" fmla="*/ 39 w 189"/>
                <a:gd name="T9" fmla="*/ 152 h 290"/>
                <a:gd name="T10" fmla="*/ 39 w 189"/>
                <a:gd name="T11" fmla="*/ 260 h 290"/>
                <a:gd name="T12" fmla="*/ 75 w 189"/>
                <a:gd name="T13" fmla="*/ 260 h 290"/>
                <a:gd name="T14" fmla="*/ 75 w 189"/>
                <a:gd name="T15" fmla="*/ 260 h 290"/>
                <a:gd name="T16" fmla="*/ 39 w 189"/>
                <a:gd name="T17" fmla="*/ 124 h 290"/>
                <a:gd name="T18" fmla="*/ 39 w 189"/>
                <a:gd name="T19" fmla="*/ 124 h 290"/>
                <a:gd name="T20" fmla="*/ 67 w 189"/>
                <a:gd name="T21" fmla="*/ 124 h 290"/>
                <a:gd name="T22" fmla="*/ 128 w 189"/>
                <a:gd name="T23" fmla="*/ 73 h 290"/>
                <a:gd name="T24" fmla="*/ 66 w 189"/>
                <a:gd name="T25" fmla="*/ 30 h 290"/>
                <a:gd name="T26" fmla="*/ 39 w 189"/>
                <a:gd name="T27" fmla="*/ 30 h 290"/>
                <a:gd name="T28" fmla="*/ 39 w 189"/>
                <a:gd name="T29" fmla="*/ 124 h 290"/>
                <a:gd name="T30" fmla="*/ 39 w 189"/>
                <a:gd name="T31" fmla="*/ 124 h 290"/>
                <a:gd name="T32" fmla="*/ 189 w 189"/>
                <a:gd name="T33" fmla="*/ 207 h 290"/>
                <a:gd name="T34" fmla="*/ 189 w 189"/>
                <a:gd name="T35" fmla="*/ 207 h 290"/>
                <a:gd name="T36" fmla="*/ 79 w 189"/>
                <a:gd name="T37" fmla="*/ 290 h 290"/>
                <a:gd name="T38" fmla="*/ 8 w 189"/>
                <a:gd name="T39" fmla="*/ 290 h 290"/>
                <a:gd name="T40" fmla="*/ 0 w 189"/>
                <a:gd name="T41" fmla="*/ 281 h 290"/>
                <a:gd name="T42" fmla="*/ 0 w 189"/>
                <a:gd name="T43" fmla="*/ 10 h 290"/>
                <a:gd name="T44" fmla="*/ 8 w 189"/>
                <a:gd name="T45" fmla="*/ 0 h 290"/>
                <a:gd name="T46" fmla="*/ 68 w 189"/>
                <a:gd name="T47" fmla="*/ 0 h 290"/>
                <a:gd name="T48" fmla="*/ 166 w 189"/>
                <a:gd name="T49" fmla="*/ 71 h 290"/>
                <a:gd name="T50" fmla="*/ 116 w 189"/>
                <a:gd name="T51" fmla="*/ 134 h 290"/>
                <a:gd name="T52" fmla="*/ 116 w 189"/>
                <a:gd name="T53" fmla="*/ 135 h 290"/>
                <a:gd name="T54" fmla="*/ 189 w 189"/>
                <a:gd name="T55" fmla="*/ 207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9" h="290">
                  <a:moveTo>
                    <a:pt x="75" y="260"/>
                  </a:moveTo>
                  <a:lnTo>
                    <a:pt x="75" y="260"/>
                  </a:lnTo>
                  <a:cubicBezTo>
                    <a:pt x="113" y="260"/>
                    <a:pt x="148" y="253"/>
                    <a:pt x="149" y="207"/>
                  </a:cubicBezTo>
                  <a:cubicBezTo>
                    <a:pt x="149" y="163"/>
                    <a:pt x="111" y="152"/>
                    <a:pt x="74" y="152"/>
                  </a:cubicBezTo>
                  <a:lnTo>
                    <a:pt x="39" y="152"/>
                  </a:lnTo>
                  <a:lnTo>
                    <a:pt x="39" y="260"/>
                  </a:lnTo>
                  <a:lnTo>
                    <a:pt x="75" y="260"/>
                  </a:lnTo>
                  <a:lnTo>
                    <a:pt x="75" y="260"/>
                  </a:lnTo>
                  <a:close/>
                  <a:moveTo>
                    <a:pt x="39" y="124"/>
                  </a:moveTo>
                  <a:lnTo>
                    <a:pt x="39" y="124"/>
                  </a:lnTo>
                  <a:lnTo>
                    <a:pt x="67" y="124"/>
                  </a:lnTo>
                  <a:cubicBezTo>
                    <a:pt x="97" y="124"/>
                    <a:pt x="128" y="116"/>
                    <a:pt x="128" y="73"/>
                  </a:cubicBezTo>
                  <a:cubicBezTo>
                    <a:pt x="128" y="37"/>
                    <a:pt x="100" y="30"/>
                    <a:pt x="66" y="30"/>
                  </a:cubicBezTo>
                  <a:lnTo>
                    <a:pt x="39" y="30"/>
                  </a:lnTo>
                  <a:lnTo>
                    <a:pt x="39" y="124"/>
                  </a:lnTo>
                  <a:lnTo>
                    <a:pt x="39" y="124"/>
                  </a:lnTo>
                  <a:close/>
                  <a:moveTo>
                    <a:pt x="189" y="207"/>
                  </a:moveTo>
                  <a:lnTo>
                    <a:pt x="189" y="207"/>
                  </a:lnTo>
                  <a:cubicBezTo>
                    <a:pt x="189" y="273"/>
                    <a:pt x="138" y="290"/>
                    <a:pt x="79" y="290"/>
                  </a:cubicBezTo>
                  <a:lnTo>
                    <a:pt x="8" y="290"/>
                  </a:lnTo>
                  <a:cubicBezTo>
                    <a:pt x="3" y="290"/>
                    <a:pt x="0" y="288"/>
                    <a:pt x="0" y="281"/>
                  </a:cubicBezTo>
                  <a:lnTo>
                    <a:pt x="0" y="10"/>
                  </a:lnTo>
                  <a:cubicBezTo>
                    <a:pt x="0" y="2"/>
                    <a:pt x="3" y="0"/>
                    <a:pt x="8" y="0"/>
                  </a:cubicBezTo>
                  <a:lnTo>
                    <a:pt x="68" y="0"/>
                  </a:lnTo>
                  <a:cubicBezTo>
                    <a:pt x="127" y="0"/>
                    <a:pt x="166" y="19"/>
                    <a:pt x="166" y="71"/>
                  </a:cubicBezTo>
                  <a:cubicBezTo>
                    <a:pt x="166" y="102"/>
                    <a:pt x="149" y="128"/>
                    <a:pt x="116" y="134"/>
                  </a:cubicBezTo>
                  <a:lnTo>
                    <a:pt x="116" y="135"/>
                  </a:lnTo>
                  <a:cubicBezTo>
                    <a:pt x="157" y="136"/>
                    <a:pt x="189" y="163"/>
                    <a:pt x="189" y="20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0" name="Freeform 22">
              <a:extLst>
                <a:ext uri="{FF2B5EF4-FFF2-40B4-BE49-F238E27FC236}">
                  <a16:creationId xmlns:a16="http://schemas.microsoft.com/office/drawing/2014/main" id="{7D8320AF-AB29-436B-83FB-2240074880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259" y="4339"/>
              <a:ext cx="152" cy="176"/>
            </a:xfrm>
            <a:custGeom>
              <a:avLst/>
              <a:gdLst>
                <a:gd name="T0" fmla="*/ 169 w 252"/>
                <a:gd name="T1" fmla="*/ 175 h 290"/>
                <a:gd name="T2" fmla="*/ 169 w 252"/>
                <a:gd name="T3" fmla="*/ 175 h 290"/>
                <a:gd name="T4" fmla="*/ 126 w 252"/>
                <a:gd name="T5" fmla="*/ 50 h 290"/>
                <a:gd name="T6" fmla="*/ 125 w 252"/>
                <a:gd name="T7" fmla="*/ 50 h 290"/>
                <a:gd name="T8" fmla="*/ 80 w 252"/>
                <a:gd name="T9" fmla="*/ 175 h 290"/>
                <a:gd name="T10" fmla="*/ 169 w 252"/>
                <a:gd name="T11" fmla="*/ 175 h 290"/>
                <a:gd name="T12" fmla="*/ 169 w 252"/>
                <a:gd name="T13" fmla="*/ 175 h 290"/>
                <a:gd name="T14" fmla="*/ 41 w 252"/>
                <a:gd name="T15" fmla="*/ 284 h 290"/>
                <a:gd name="T16" fmla="*/ 41 w 252"/>
                <a:gd name="T17" fmla="*/ 284 h 290"/>
                <a:gd name="T18" fmla="*/ 31 w 252"/>
                <a:gd name="T19" fmla="*/ 290 h 290"/>
                <a:gd name="T20" fmla="*/ 8 w 252"/>
                <a:gd name="T21" fmla="*/ 290 h 290"/>
                <a:gd name="T22" fmla="*/ 2 w 252"/>
                <a:gd name="T23" fmla="*/ 282 h 290"/>
                <a:gd name="T24" fmla="*/ 108 w 252"/>
                <a:gd name="T25" fmla="*/ 6 h 290"/>
                <a:gd name="T26" fmla="*/ 116 w 252"/>
                <a:gd name="T27" fmla="*/ 0 h 290"/>
                <a:gd name="T28" fmla="*/ 138 w 252"/>
                <a:gd name="T29" fmla="*/ 0 h 290"/>
                <a:gd name="T30" fmla="*/ 146 w 252"/>
                <a:gd name="T31" fmla="*/ 5 h 290"/>
                <a:gd name="T32" fmla="*/ 250 w 252"/>
                <a:gd name="T33" fmla="*/ 282 h 290"/>
                <a:gd name="T34" fmla="*/ 244 w 252"/>
                <a:gd name="T35" fmla="*/ 290 h 290"/>
                <a:gd name="T36" fmla="*/ 217 w 252"/>
                <a:gd name="T37" fmla="*/ 290 h 290"/>
                <a:gd name="T38" fmla="*/ 207 w 252"/>
                <a:gd name="T39" fmla="*/ 284 h 290"/>
                <a:gd name="T40" fmla="*/ 179 w 252"/>
                <a:gd name="T41" fmla="*/ 204 h 290"/>
                <a:gd name="T42" fmla="*/ 70 w 252"/>
                <a:gd name="T43" fmla="*/ 204 h 290"/>
                <a:gd name="T44" fmla="*/ 41 w 252"/>
                <a:gd name="T45" fmla="*/ 28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2" h="290">
                  <a:moveTo>
                    <a:pt x="169" y="175"/>
                  </a:moveTo>
                  <a:lnTo>
                    <a:pt x="169" y="175"/>
                  </a:lnTo>
                  <a:lnTo>
                    <a:pt x="126" y="50"/>
                  </a:lnTo>
                  <a:lnTo>
                    <a:pt x="125" y="50"/>
                  </a:lnTo>
                  <a:lnTo>
                    <a:pt x="80" y="175"/>
                  </a:lnTo>
                  <a:lnTo>
                    <a:pt x="169" y="175"/>
                  </a:lnTo>
                  <a:lnTo>
                    <a:pt x="169" y="175"/>
                  </a:lnTo>
                  <a:close/>
                  <a:moveTo>
                    <a:pt x="41" y="284"/>
                  </a:moveTo>
                  <a:lnTo>
                    <a:pt x="41" y="284"/>
                  </a:lnTo>
                  <a:cubicBezTo>
                    <a:pt x="39" y="289"/>
                    <a:pt x="37" y="290"/>
                    <a:pt x="31" y="290"/>
                  </a:cubicBezTo>
                  <a:lnTo>
                    <a:pt x="8" y="290"/>
                  </a:lnTo>
                  <a:cubicBezTo>
                    <a:pt x="1" y="290"/>
                    <a:pt x="0" y="287"/>
                    <a:pt x="2" y="282"/>
                  </a:cubicBezTo>
                  <a:lnTo>
                    <a:pt x="108" y="6"/>
                  </a:lnTo>
                  <a:cubicBezTo>
                    <a:pt x="109" y="2"/>
                    <a:pt x="112" y="0"/>
                    <a:pt x="116" y="0"/>
                  </a:cubicBezTo>
                  <a:lnTo>
                    <a:pt x="138" y="0"/>
                  </a:lnTo>
                  <a:cubicBezTo>
                    <a:pt x="142" y="0"/>
                    <a:pt x="144" y="2"/>
                    <a:pt x="146" y="5"/>
                  </a:cubicBezTo>
                  <a:lnTo>
                    <a:pt x="250" y="282"/>
                  </a:lnTo>
                  <a:cubicBezTo>
                    <a:pt x="252" y="287"/>
                    <a:pt x="251" y="290"/>
                    <a:pt x="244" y="290"/>
                  </a:cubicBezTo>
                  <a:lnTo>
                    <a:pt x="217" y="290"/>
                  </a:lnTo>
                  <a:cubicBezTo>
                    <a:pt x="211" y="290"/>
                    <a:pt x="209" y="289"/>
                    <a:pt x="207" y="284"/>
                  </a:cubicBezTo>
                  <a:lnTo>
                    <a:pt x="179" y="204"/>
                  </a:lnTo>
                  <a:lnTo>
                    <a:pt x="70" y="204"/>
                  </a:lnTo>
                  <a:lnTo>
                    <a:pt x="41" y="28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1" name="Freeform 23">
              <a:extLst>
                <a:ext uri="{FF2B5EF4-FFF2-40B4-BE49-F238E27FC236}">
                  <a16:creationId xmlns:a16="http://schemas.microsoft.com/office/drawing/2014/main" id="{94524859-BCFE-4E08-ABA6-76C35E06A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53" y="4339"/>
              <a:ext cx="92" cy="176"/>
            </a:xfrm>
            <a:custGeom>
              <a:avLst/>
              <a:gdLst>
                <a:gd name="T0" fmla="*/ 48 w 153"/>
                <a:gd name="T1" fmla="*/ 290 h 290"/>
                <a:gd name="T2" fmla="*/ 48 w 153"/>
                <a:gd name="T3" fmla="*/ 290 h 290"/>
                <a:gd name="T4" fmla="*/ 11 w 153"/>
                <a:gd name="T5" fmla="*/ 278 h 290"/>
                <a:gd name="T6" fmla="*/ 0 w 153"/>
                <a:gd name="T7" fmla="*/ 244 h 290"/>
                <a:gd name="T8" fmla="*/ 0 w 153"/>
                <a:gd name="T9" fmla="*/ 8 h 290"/>
                <a:gd name="T10" fmla="*/ 8 w 153"/>
                <a:gd name="T11" fmla="*/ 0 h 290"/>
                <a:gd name="T12" fmla="*/ 31 w 153"/>
                <a:gd name="T13" fmla="*/ 0 h 290"/>
                <a:gd name="T14" fmla="*/ 39 w 153"/>
                <a:gd name="T15" fmla="*/ 8 h 290"/>
                <a:gd name="T16" fmla="*/ 39 w 153"/>
                <a:gd name="T17" fmla="*/ 242 h 290"/>
                <a:gd name="T18" fmla="*/ 43 w 153"/>
                <a:gd name="T19" fmla="*/ 255 h 290"/>
                <a:gd name="T20" fmla="*/ 56 w 153"/>
                <a:gd name="T21" fmla="*/ 259 h 290"/>
                <a:gd name="T22" fmla="*/ 145 w 153"/>
                <a:gd name="T23" fmla="*/ 259 h 290"/>
                <a:gd name="T24" fmla="*/ 153 w 153"/>
                <a:gd name="T25" fmla="*/ 266 h 290"/>
                <a:gd name="T26" fmla="*/ 153 w 153"/>
                <a:gd name="T27" fmla="*/ 284 h 290"/>
                <a:gd name="T28" fmla="*/ 145 w 153"/>
                <a:gd name="T29" fmla="*/ 290 h 290"/>
                <a:gd name="T30" fmla="*/ 48 w 153"/>
                <a:gd name="T31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290">
                  <a:moveTo>
                    <a:pt x="48" y="290"/>
                  </a:moveTo>
                  <a:lnTo>
                    <a:pt x="48" y="290"/>
                  </a:lnTo>
                  <a:cubicBezTo>
                    <a:pt x="30" y="290"/>
                    <a:pt x="19" y="286"/>
                    <a:pt x="11" y="278"/>
                  </a:cubicBezTo>
                  <a:cubicBezTo>
                    <a:pt x="3" y="271"/>
                    <a:pt x="0" y="260"/>
                    <a:pt x="0" y="244"/>
                  </a:cubicBezTo>
                  <a:lnTo>
                    <a:pt x="0" y="8"/>
                  </a:lnTo>
                  <a:cubicBezTo>
                    <a:pt x="0" y="3"/>
                    <a:pt x="3" y="0"/>
                    <a:pt x="8" y="0"/>
                  </a:cubicBezTo>
                  <a:lnTo>
                    <a:pt x="31" y="0"/>
                  </a:lnTo>
                  <a:cubicBezTo>
                    <a:pt x="37" y="0"/>
                    <a:pt x="39" y="2"/>
                    <a:pt x="39" y="8"/>
                  </a:cubicBezTo>
                  <a:lnTo>
                    <a:pt x="39" y="242"/>
                  </a:lnTo>
                  <a:cubicBezTo>
                    <a:pt x="39" y="248"/>
                    <a:pt x="40" y="253"/>
                    <a:pt x="43" y="255"/>
                  </a:cubicBezTo>
                  <a:cubicBezTo>
                    <a:pt x="45" y="258"/>
                    <a:pt x="49" y="259"/>
                    <a:pt x="56" y="259"/>
                  </a:cubicBezTo>
                  <a:lnTo>
                    <a:pt x="145" y="259"/>
                  </a:lnTo>
                  <a:cubicBezTo>
                    <a:pt x="151" y="259"/>
                    <a:pt x="153" y="261"/>
                    <a:pt x="153" y="266"/>
                  </a:cubicBezTo>
                  <a:lnTo>
                    <a:pt x="153" y="284"/>
                  </a:lnTo>
                  <a:cubicBezTo>
                    <a:pt x="153" y="289"/>
                    <a:pt x="151" y="290"/>
                    <a:pt x="145" y="290"/>
                  </a:cubicBezTo>
                  <a:lnTo>
                    <a:pt x="48" y="29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2" name="Freeform 24">
              <a:extLst>
                <a:ext uri="{FF2B5EF4-FFF2-40B4-BE49-F238E27FC236}">
                  <a16:creationId xmlns:a16="http://schemas.microsoft.com/office/drawing/2014/main" id="{F462D6AC-2E3D-4562-936D-6C4AFB9112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3" y="4012"/>
              <a:ext cx="196" cy="295"/>
            </a:xfrm>
            <a:custGeom>
              <a:avLst/>
              <a:gdLst>
                <a:gd name="T0" fmla="*/ 161 w 326"/>
                <a:gd name="T1" fmla="*/ 5 h 486"/>
                <a:gd name="T2" fmla="*/ 161 w 326"/>
                <a:gd name="T3" fmla="*/ 5 h 486"/>
                <a:gd name="T4" fmla="*/ 207 w 326"/>
                <a:gd name="T5" fmla="*/ 33 h 486"/>
                <a:gd name="T6" fmla="*/ 266 w 326"/>
                <a:gd name="T7" fmla="*/ 136 h 486"/>
                <a:gd name="T8" fmla="*/ 325 w 326"/>
                <a:gd name="T9" fmla="*/ 362 h 486"/>
                <a:gd name="T10" fmla="*/ 316 w 326"/>
                <a:gd name="T11" fmla="*/ 381 h 486"/>
                <a:gd name="T12" fmla="*/ 306 w 326"/>
                <a:gd name="T13" fmla="*/ 370 h 486"/>
                <a:gd name="T14" fmla="*/ 283 w 326"/>
                <a:gd name="T15" fmla="*/ 287 h 486"/>
                <a:gd name="T16" fmla="*/ 271 w 326"/>
                <a:gd name="T17" fmla="*/ 270 h 486"/>
                <a:gd name="T18" fmla="*/ 267 w 326"/>
                <a:gd name="T19" fmla="*/ 285 h 486"/>
                <a:gd name="T20" fmla="*/ 301 w 326"/>
                <a:gd name="T21" fmla="*/ 427 h 486"/>
                <a:gd name="T22" fmla="*/ 293 w 326"/>
                <a:gd name="T23" fmla="*/ 454 h 486"/>
                <a:gd name="T24" fmla="*/ 276 w 326"/>
                <a:gd name="T25" fmla="*/ 438 h 486"/>
                <a:gd name="T26" fmla="*/ 240 w 326"/>
                <a:gd name="T27" fmla="*/ 307 h 486"/>
                <a:gd name="T28" fmla="*/ 221 w 326"/>
                <a:gd name="T29" fmla="*/ 282 h 486"/>
                <a:gd name="T30" fmla="*/ 220 w 326"/>
                <a:gd name="T31" fmla="*/ 310 h 486"/>
                <a:gd name="T32" fmla="*/ 256 w 326"/>
                <a:gd name="T33" fmla="*/ 462 h 486"/>
                <a:gd name="T34" fmla="*/ 246 w 326"/>
                <a:gd name="T35" fmla="*/ 484 h 486"/>
                <a:gd name="T36" fmla="*/ 229 w 326"/>
                <a:gd name="T37" fmla="*/ 467 h 486"/>
                <a:gd name="T38" fmla="*/ 185 w 326"/>
                <a:gd name="T39" fmla="*/ 315 h 486"/>
                <a:gd name="T40" fmla="*/ 167 w 326"/>
                <a:gd name="T41" fmla="*/ 293 h 486"/>
                <a:gd name="T42" fmla="*/ 163 w 326"/>
                <a:gd name="T43" fmla="*/ 309 h 486"/>
                <a:gd name="T44" fmla="*/ 206 w 326"/>
                <a:gd name="T45" fmla="*/ 453 h 486"/>
                <a:gd name="T46" fmla="*/ 196 w 326"/>
                <a:gd name="T47" fmla="*/ 475 h 486"/>
                <a:gd name="T48" fmla="*/ 175 w 326"/>
                <a:gd name="T49" fmla="*/ 452 h 486"/>
                <a:gd name="T50" fmla="*/ 140 w 326"/>
                <a:gd name="T51" fmla="*/ 344 h 486"/>
                <a:gd name="T52" fmla="*/ 100 w 326"/>
                <a:gd name="T53" fmla="*/ 249 h 486"/>
                <a:gd name="T54" fmla="*/ 83 w 326"/>
                <a:gd name="T55" fmla="*/ 254 h 486"/>
                <a:gd name="T56" fmla="*/ 65 w 326"/>
                <a:gd name="T57" fmla="*/ 313 h 486"/>
                <a:gd name="T58" fmla="*/ 4 w 326"/>
                <a:gd name="T59" fmla="*/ 358 h 486"/>
                <a:gd name="T60" fmla="*/ 15 w 326"/>
                <a:gd name="T61" fmla="*/ 330 h 486"/>
                <a:gd name="T62" fmla="*/ 42 w 326"/>
                <a:gd name="T63" fmla="*/ 256 h 486"/>
                <a:gd name="T64" fmla="*/ 58 w 326"/>
                <a:gd name="T65" fmla="*/ 140 h 486"/>
                <a:gd name="T66" fmla="*/ 43 w 326"/>
                <a:gd name="T67" fmla="*/ 50 h 486"/>
                <a:gd name="T68" fmla="*/ 32 w 326"/>
                <a:gd name="T69" fmla="*/ 26 h 486"/>
                <a:gd name="T70" fmla="*/ 56 w 326"/>
                <a:gd name="T71" fmla="*/ 2 h 486"/>
                <a:gd name="T72" fmla="*/ 161 w 326"/>
                <a:gd name="T73" fmla="*/ 5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6" h="486">
                  <a:moveTo>
                    <a:pt x="161" y="5"/>
                  </a:moveTo>
                  <a:lnTo>
                    <a:pt x="161" y="5"/>
                  </a:lnTo>
                  <a:cubicBezTo>
                    <a:pt x="182" y="7"/>
                    <a:pt x="197" y="20"/>
                    <a:pt x="207" y="33"/>
                  </a:cubicBezTo>
                  <a:cubicBezTo>
                    <a:pt x="231" y="64"/>
                    <a:pt x="246" y="86"/>
                    <a:pt x="266" y="136"/>
                  </a:cubicBezTo>
                  <a:cubicBezTo>
                    <a:pt x="318" y="263"/>
                    <a:pt x="325" y="353"/>
                    <a:pt x="325" y="362"/>
                  </a:cubicBezTo>
                  <a:cubicBezTo>
                    <a:pt x="326" y="371"/>
                    <a:pt x="320" y="380"/>
                    <a:pt x="316" y="381"/>
                  </a:cubicBezTo>
                  <a:cubicBezTo>
                    <a:pt x="311" y="382"/>
                    <a:pt x="307" y="374"/>
                    <a:pt x="306" y="370"/>
                  </a:cubicBezTo>
                  <a:cubicBezTo>
                    <a:pt x="299" y="341"/>
                    <a:pt x="290" y="308"/>
                    <a:pt x="283" y="287"/>
                  </a:cubicBezTo>
                  <a:cubicBezTo>
                    <a:pt x="281" y="281"/>
                    <a:pt x="277" y="269"/>
                    <a:pt x="271" y="270"/>
                  </a:cubicBezTo>
                  <a:cubicBezTo>
                    <a:pt x="266" y="272"/>
                    <a:pt x="265" y="278"/>
                    <a:pt x="267" y="285"/>
                  </a:cubicBezTo>
                  <a:cubicBezTo>
                    <a:pt x="286" y="346"/>
                    <a:pt x="300" y="417"/>
                    <a:pt x="301" y="427"/>
                  </a:cubicBezTo>
                  <a:cubicBezTo>
                    <a:pt x="303" y="442"/>
                    <a:pt x="300" y="452"/>
                    <a:pt x="293" y="454"/>
                  </a:cubicBezTo>
                  <a:cubicBezTo>
                    <a:pt x="284" y="456"/>
                    <a:pt x="280" y="448"/>
                    <a:pt x="276" y="438"/>
                  </a:cubicBezTo>
                  <a:cubicBezTo>
                    <a:pt x="273" y="427"/>
                    <a:pt x="258" y="358"/>
                    <a:pt x="240" y="307"/>
                  </a:cubicBezTo>
                  <a:cubicBezTo>
                    <a:pt x="234" y="292"/>
                    <a:pt x="228" y="280"/>
                    <a:pt x="221" y="282"/>
                  </a:cubicBezTo>
                  <a:cubicBezTo>
                    <a:pt x="213" y="284"/>
                    <a:pt x="216" y="299"/>
                    <a:pt x="220" y="310"/>
                  </a:cubicBezTo>
                  <a:cubicBezTo>
                    <a:pt x="248" y="395"/>
                    <a:pt x="255" y="448"/>
                    <a:pt x="256" y="462"/>
                  </a:cubicBezTo>
                  <a:cubicBezTo>
                    <a:pt x="257" y="473"/>
                    <a:pt x="253" y="482"/>
                    <a:pt x="246" y="484"/>
                  </a:cubicBezTo>
                  <a:cubicBezTo>
                    <a:pt x="238" y="486"/>
                    <a:pt x="232" y="480"/>
                    <a:pt x="229" y="467"/>
                  </a:cubicBezTo>
                  <a:cubicBezTo>
                    <a:pt x="215" y="399"/>
                    <a:pt x="190" y="328"/>
                    <a:pt x="185" y="315"/>
                  </a:cubicBezTo>
                  <a:cubicBezTo>
                    <a:pt x="179" y="302"/>
                    <a:pt x="173" y="292"/>
                    <a:pt x="167" y="293"/>
                  </a:cubicBezTo>
                  <a:cubicBezTo>
                    <a:pt x="162" y="295"/>
                    <a:pt x="160" y="301"/>
                    <a:pt x="163" y="309"/>
                  </a:cubicBezTo>
                  <a:cubicBezTo>
                    <a:pt x="180" y="354"/>
                    <a:pt x="202" y="433"/>
                    <a:pt x="206" y="453"/>
                  </a:cubicBezTo>
                  <a:cubicBezTo>
                    <a:pt x="208" y="465"/>
                    <a:pt x="205" y="473"/>
                    <a:pt x="196" y="475"/>
                  </a:cubicBezTo>
                  <a:cubicBezTo>
                    <a:pt x="188" y="477"/>
                    <a:pt x="179" y="467"/>
                    <a:pt x="175" y="452"/>
                  </a:cubicBezTo>
                  <a:cubicBezTo>
                    <a:pt x="170" y="435"/>
                    <a:pt x="159" y="398"/>
                    <a:pt x="140" y="344"/>
                  </a:cubicBezTo>
                  <a:cubicBezTo>
                    <a:pt x="115" y="274"/>
                    <a:pt x="109" y="257"/>
                    <a:pt x="100" y="249"/>
                  </a:cubicBezTo>
                  <a:cubicBezTo>
                    <a:pt x="97" y="246"/>
                    <a:pt x="89" y="240"/>
                    <a:pt x="83" y="254"/>
                  </a:cubicBezTo>
                  <a:cubicBezTo>
                    <a:pt x="77" y="271"/>
                    <a:pt x="72" y="297"/>
                    <a:pt x="65" y="313"/>
                  </a:cubicBezTo>
                  <a:cubicBezTo>
                    <a:pt x="47" y="354"/>
                    <a:pt x="16" y="368"/>
                    <a:pt x="4" y="358"/>
                  </a:cubicBezTo>
                  <a:cubicBezTo>
                    <a:pt x="0" y="355"/>
                    <a:pt x="9" y="340"/>
                    <a:pt x="15" y="330"/>
                  </a:cubicBezTo>
                  <a:cubicBezTo>
                    <a:pt x="28" y="307"/>
                    <a:pt x="33" y="288"/>
                    <a:pt x="42" y="256"/>
                  </a:cubicBezTo>
                  <a:cubicBezTo>
                    <a:pt x="51" y="218"/>
                    <a:pt x="56" y="182"/>
                    <a:pt x="58" y="140"/>
                  </a:cubicBezTo>
                  <a:cubicBezTo>
                    <a:pt x="59" y="111"/>
                    <a:pt x="59" y="90"/>
                    <a:pt x="43" y="50"/>
                  </a:cubicBezTo>
                  <a:cubicBezTo>
                    <a:pt x="39" y="40"/>
                    <a:pt x="36" y="36"/>
                    <a:pt x="32" y="26"/>
                  </a:cubicBezTo>
                  <a:cubicBezTo>
                    <a:pt x="30" y="20"/>
                    <a:pt x="30" y="4"/>
                    <a:pt x="56" y="2"/>
                  </a:cubicBezTo>
                  <a:cubicBezTo>
                    <a:pt x="75" y="1"/>
                    <a:pt x="124" y="0"/>
                    <a:pt x="161" y="5"/>
                  </a:cubicBez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3" name="Freeform 25">
              <a:extLst>
                <a:ext uri="{FF2B5EF4-FFF2-40B4-BE49-F238E27FC236}">
                  <a16:creationId xmlns:a16="http://schemas.microsoft.com/office/drawing/2014/main" id="{32A10C88-5F68-484C-A116-F749153B84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0" y="4231"/>
              <a:ext cx="269" cy="239"/>
            </a:xfrm>
            <a:custGeom>
              <a:avLst/>
              <a:gdLst>
                <a:gd name="T0" fmla="*/ 442 w 446"/>
                <a:gd name="T1" fmla="*/ 125 h 395"/>
                <a:gd name="T2" fmla="*/ 442 w 446"/>
                <a:gd name="T3" fmla="*/ 125 h 395"/>
                <a:gd name="T4" fmla="*/ 429 w 446"/>
                <a:gd name="T5" fmla="*/ 177 h 395"/>
                <a:gd name="T6" fmla="*/ 349 w 446"/>
                <a:gd name="T7" fmla="*/ 265 h 395"/>
                <a:gd name="T8" fmla="*/ 153 w 446"/>
                <a:gd name="T9" fmla="*/ 391 h 395"/>
                <a:gd name="T10" fmla="*/ 131 w 446"/>
                <a:gd name="T11" fmla="*/ 388 h 395"/>
                <a:gd name="T12" fmla="*/ 139 w 446"/>
                <a:gd name="T13" fmla="*/ 375 h 395"/>
                <a:gd name="T14" fmla="*/ 211 w 446"/>
                <a:gd name="T15" fmla="*/ 328 h 395"/>
                <a:gd name="T16" fmla="*/ 223 w 446"/>
                <a:gd name="T17" fmla="*/ 311 h 395"/>
                <a:gd name="T18" fmla="*/ 208 w 446"/>
                <a:gd name="T19" fmla="*/ 312 h 395"/>
                <a:gd name="T20" fmla="*/ 83 w 446"/>
                <a:gd name="T21" fmla="*/ 388 h 395"/>
                <a:gd name="T22" fmla="*/ 55 w 446"/>
                <a:gd name="T23" fmla="*/ 389 h 395"/>
                <a:gd name="T24" fmla="*/ 66 w 446"/>
                <a:gd name="T25" fmla="*/ 368 h 395"/>
                <a:gd name="T26" fmla="*/ 179 w 446"/>
                <a:gd name="T27" fmla="*/ 293 h 395"/>
                <a:gd name="T28" fmla="*/ 196 w 446"/>
                <a:gd name="T29" fmla="*/ 267 h 395"/>
                <a:gd name="T30" fmla="*/ 169 w 446"/>
                <a:gd name="T31" fmla="*/ 274 h 395"/>
                <a:gd name="T32" fmla="*/ 36 w 446"/>
                <a:gd name="T33" fmla="*/ 356 h 395"/>
                <a:gd name="T34" fmla="*/ 12 w 446"/>
                <a:gd name="T35" fmla="*/ 354 h 395"/>
                <a:gd name="T36" fmla="*/ 23 w 446"/>
                <a:gd name="T37" fmla="*/ 332 h 395"/>
                <a:gd name="T38" fmla="*/ 154 w 446"/>
                <a:gd name="T39" fmla="*/ 243 h 395"/>
                <a:gd name="T40" fmla="*/ 169 w 446"/>
                <a:gd name="T41" fmla="*/ 220 h 395"/>
                <a:gd name="T42" fmla="*/ 153 w 446"/>
                <a:gd name="T43" fmla="*/ 221 h 395"/>
                <a:gd name="T44" fmla="*/ 29 w 446"/>
                <a:gd name="T45" fmla="*/ 306 h 395"/>
                <a:gd name="T46" fmla="*/ 5 w 446"/>
                <a:gd name="T47" fmla="*/ 303 h 395"/>
                <a:gd name="T48" fmla="*/ 20 w 446"/>
                <a:gd name="T49" fmla="*/ 276 h 395"/>
                <a:gd name="T50" fmla="*/ 112 w 446"/>
                <a:gd name="T51" fmla="*/ 210 h 395"/>
                <a:gd name="T52" fmla="*/ 191 w 446"/>
                <a:gd name="T53" fmla="*/ 142 h 395"/>
                <a:gd name="T54" fmla="*/ 180 w 446"/>
                <a:gd name="T55" fmla="*/ 128 h 395"/>
                <a:gd name="T56" fmla="*/ 118 w 446"/>
                <a:gd name="T57" fmla="*/ 128 h 395"/>
                <a:gd name="T58" fmla="*/ 57 w 446"/>
                <a:gd name="T59" fmla="*/ 84 h 395"/>
                <a:gd name="T60" fmla="*/ 86 w 446"/>
                <a:gd name="T61" fmla="*/ 86 h 395"/>
                <a:gd name="T62" fmla="*/ 166 w 446"/>
                <a:gd name="T63" fmla="*/ 88 h 395"/>
                <a:gd name="T64" fmla="*/ 281 w 446"/>
                <a:gd name="T65" fmla="*/ 68 h 395"/>
                <a:gd name="T66" fmla="*/ 362 w 446"/>
                <a:gd name="T67" fmla="*/ 26 h 395"/>
                <a:gd name="T68" fmla="*/ 381 w 446"/>
                <a:gd name="T69" fmla="*/ 9 h 395"/>
                <a:gd name="T70" fmla="*/ 411 w 446"/>
                <a:gd name="T71" fmla="*/ 23 h 395"/>
                <a:gd name="T72" fmla="*/ 442 w 446"/>
                <a:gd name="T73" fmla="*/ 12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6" h="395">
                  <a:moveTo>
                    <a:pt x="442" y="125"/>
                  </a:moveTo>
                  <a:lnTo>
                    <a:pt x="442" y="125"/>
                  </a:lnTo>
                  <a:cubicBezTo>
                    <a:pt x="446" y="145"/>
                    <a:pt x="438" y="164"/>
                    <a:pt x="429" y="177"/>
                  </a:cubicBezTo>
                  <a:cubicBezTo>
                    <a:pt x="406" y="209"/>
                    <a:pt x="390" y="231"/>
                    <a:pt x="349" y="265"/>
                  </a:cubicBezTo>
                  <a:cubicBezTo>
                    <a:pt x="244" y="353"/>
                    <a:pt x="161" y="388"/>
                    <a:pt x="153" y="391"/>
                  </a:cubicBezTo>
                  <a:cubicBezTo>
                    <a:pt x="144" y="395"/>
                    <a:pt x="133" y="392"/>
                    <a:pt x="131" y="388"/>
                  </a:cubicBezTo>
                  <a:cubicBezTo>
                    <a:pt x="129" y="383"/>
                    <a:pt x="135" y="378"/>
                    <a:pt x="139" y="375"/>
                  </a:cubicBezTo>
                  <a:cubicBezTo>
                    <a:pt x="164" y="360"/>
                    <a:pt x="193" y="341"/>
                    <a:pt x="211" y="328"/>
                  </a:cubicBezTo>
                  <a:cubicBezTo>
                    <a:pt x="216" y="324"/>
                    <a:pt x="226" y="316"/>
                    <a:pt x="223" y="311"/>
                  </a:cubicBezTo>
                  <a:cubicBezTo>
                    <a:pt x="220" y="307"/>
                    <a:pt x="214" y="308"/>
                    <a:pt x="208" y="312"/>
                  </a:cubicBezTo>
                  <a:cubicBezTo>
                    <a:pt x="155" y="349"/>
                    <a:pt x="93" y="384"/>
                    <a:pt x="83" y="388"/>
                  </a:cubicBezTo>
                  <a:cubicBezTo>
                    <a:pt x="69" y="395"/>
                    <a:pt x="59" y="395"/>
                    <a:pt x="55" y="389"/>
                  </a:cubicBezTo>
                  <a:cubicBezTo>
                    <a:pt x="51" y="381"/>
                    <a:pt x="56" y="375"/>
                    <a:pt x="66" y="368"/>
                  </a:cubicBezTo>
                  <a:cubicBezTo>
                    <a:pt x="75" y="361"/>
                    <a:pt x="136" y="326"/>
                    <a:pt x="179" y="293"/>
                  </a:cubicBezTo>
                  <a:cubicBezTo>
                    <a:pt x="191" y="283"/>
                    <a:pt x="201" y="274"/>
                    <a:pt x="196" y="267"/>
                  </a:cubicBezTo>
                  <a:cubicBezTo>
                    <a:pt x="192" y="261"/>
                    <a:pt x="179" y="268"/>
                    <a:pt x="169" y="274"/>
                  </a:cubicBezTo>
                  <a:cubicBezTo>
                    <a:pt x="97" y="327"/>
                    <a:pt x="49" y="351"/>
                    <a:pt x="36" y="356"/>
                  </a:cubicBezTo>
                  <a:cubicBezTo>
                    <a:pt x="26" y="361"/>
                    <a:pt x="16" y="360"/>
                    <a:pt x="12" y="354"/>
                  </a:cubicBezTo>
                  <a:cubicBezTo>
                    <a:pt x="7" y="346"/>
                    <a:pt x="12" y="339"/>
                    <a:pt x="23" y="332"/>
                  </a:cubicBezTo>
                  <a:cubicBezTo>
                    <a:pt x="84" y="297"/>
                    <a:pt x="143" y="252"/>
                    <a:pt x="154" y="243"/>
                  </a:cubicBezTo>
                  <a:cubicBezTo>
                    <a:pt x="164" y="234"/>
                    <a:pt x="172" y="225"/>
                    <a:pt x="169" y="220"/>
                  </a:cubicBezTo>
                  <a:cubicBezTo>
                    <a:pt x="166" y="215"/>
                    <a:pt x="159" y="216"/>
                    <a:pt x="153" y="221"/>
                  </a:cubicBezTo>
                  <a:cubicBezTo>
                    <a:pt x="115" y="251"/>
                    <a:pt x="47" y="296"/>
                    <a:pt x="29" y="306"/>
                  </a:cubicBezTo>
                  <a:cubicBezTo>
                    <a:pt x="18" y="311"/>
                    <a:pt x="10" y="311"/>
                    <a:pt x="5" y="303"/>
                  </a:cubicBezTo>
                  <a:cubicBezTo>
                    <a:pt x="0" y="296"/>
                    <a:pt x="8" y="285"/>
                    <a:pt x="20" y="276"/>
                  </a:cubicBezTo>
                  <a:cubicBezTo>
                    <a:pt x="35" y="266"/>
                    <a:pt x="67" y="244"/>
                    <a:pt x="112" y="210"/>
                  </a:cubicBezTo>
                  <a:cubicBezTo>
                    <a:pt x="171" y="164"/>
                    <a:pt x="186" y="153"/>
                    <a:pt x="191" y="142"/>
                  </a:cubicBezTo>
                  <a:cubicBezTo>
                    <a:pt x="192" y="138"/>
                    <a:pt x="195" y="129"/>
                    <a:pt x="180" y="128"/>
                  </a:cubicBezTo>
                  <a:cubicBezTo>
                    <a:pt x="163" y="126"/>
                    <a:pt x="136" y="130"/>
                    <a:pt x="118" y="128"/>
                  </a:cubicBezTo>
                  <a:cubicBezTo>
                    <a:pt x="74" y="124"/>
                    <a:pt x="51" y="99"/>
                    <a:pt x="57" y="84"/>
                  </a:cubicBezTo>
                  <a:cubicBezTo>
                    <a:pt x="59" y="80"/>
                    <a:pt x="76" y="84"/>
                    <a:pt x="86" y="86"/>
                  </a:cubicBezTo>
                  <a:cubicBezTo>
                    <a:pt x="113" y="92"/>
                    <a:pt x="132" y="91"/>
                    <a:pt x="166" y="88"/>
                  </a:cubicBezTo>
                  <a:cubicBezTo>
                    <a:pt x="204" y="86"/>
                    <a:pt x="240" y="79"/>
                    <a:pt x="281" y="68"/>
                  </a:cubicBezTo>
                  <a:cubicBezTo>
                    <a:pt x="309" y="60"/>
                    <a:pt x="329" y="54"/>
                    <a:pt x="362" y="26"/>
                  </a:cubicBezTo>
                  <a:cubicBezTo>
                    <a:pt x="370" y="20"/>
                    <a:pt x="373" y="16"/>
                    <a:pt x="381" y="9"/>
                  </a:cubicBezTo>
                  <a:cubicBezTo>
                    <a:pt x="387" y="4"/>
                    <a:pt x="402" y="0"/>
                    <a:pt x="411" y="23"/>
                  </a:cubicBezTo>
                  <a:cubicBezTo>
                    <a:pt x="418" y="41"/>
                    <a:pt x="434" y="88"/>
                    <a:pt x="442" y="125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4" name="Freeform 26">
              <a:extLst>
                <a:ext uri="{FF2B5EF4-FFF2-40B4-BE49-F238E27FC236}">
                  <a16:creationId xmlns:a16="http://schemas.microsoft.com/office/drawing/2014/main" id="{35FAA134-850B-450E-98DB-1B3AF743BF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31" y="4475"/>
              <a:ext cx="290" cy="236"/>
            </a:xfrm>
            <a:custGeom>
              <a:avLst/>
              <a:gdLst>
                <a:gd name="T0" fmla="*/ 375 w 482"/>
                <a:gd name="T1" fmla="*/ 380 h 390"/>
                <a:gd name="T2" fmla="*/ 375 w 482"/>
                <a:gd name="T3" fmla="*/ 380 h 390"/>
                <a:gd name="T4" fmla="*/ 321 w 482"/>
                <a:gd name="T5" fmla="*/ 384 h 390"/>
                <a:gd name="T6" fmla="*/ 213 w 482"/>
                <a:gd name="T7" fmla="*/ 335 h 390"/>
                <a:gd name="T8" fmla="*/ 32 w 482"/>
                <a:gd name="T9" fmla="*/ 187 h 390"/>
                <a:gd name="T10" fmla="*/ 29 w 482"/>
                <a:gd name="T11" fmla="*/ 166 h 390"/>
                <a:gd name="T12" fmla="*/ 44 w 482"/>
                <a:gd name="T13" fmla="*/ 169 h 390"/>
                <a:gd name="T14" fmla="*/ 111 w 482"/>
                <a:gd name="T15" fmla="*/ 223 h 390"/>
                <a:gd name="T16" fmla="*/ 130 w 482"/>
                <a:gd name="T17" fmla="*/ 230 h 390"/>
                <a:gd name="T18" fmla="*/ 125 w 482"/>
                <a:gd name="T19" fmla="*/ 216 h 390"/>
                <a:gd name="T20" fmla="*/ 14 w 482"/>
                <a:gd name="T21" fmla="*/ 120 h 390"/>
                <a:gd name="T22" fmla="*/ 5 w 482"/>
                <a:gd name="T23" fmla="*/ 94 h 390"/>
                <a:gd name="T24" fmla="*/ 28 w 482"/>
                <a:gd name="T25" fmla="*/ 98 h 390"/>
                <a:gd name="T26" fmla="*/ 134 w 482"/>
                <a:gd name="T27" fmla="*/ 182 h 390"/>
                <a:gd name="T28" fmla="*/ 164 w 482"/>
                <a:gd name="T29" fmla="*/ 191 h 390"/>
                <a:gd name="T30" fmla="*/ 149 w 482"/>
                <a:gd name="T31" fmla="*/ 167 h 390"/>
                <a:gd name="T32" fmla="*/ 30 w 482"/>
                <a:gd name="T33" fmla="*/ 66 h 390"/>
                <a:gd name="T34" fmla="*/ 25 w 482"/>
                <a:gd name="T35" fmla="*/ 42 h 390"/>
                <a:gd name="T36" fmla="*/ 49 w 482"/>
                <a:gd name="T37" fmla="*/ 46 h 390"/>
                <a:gd name="T38" fmla="*/ 174 w 482"/>
                <a:gd name="T39" fmla="*/ 143 h 390"/>
                <a:gd name="T40" fmla="*/ 201 w 482"/>
                <a:gd name="T41" fmla="*/ 150 h 390"/>
                <a:gd name="T42" fmla="*/ 195 w 482"/>
                <a:gd name="T43" fmla="*/ 135 h 390"/>
                <a:gd name="T44" fmla="*/ 76 w 482"/>
                <a:gd name="T45" fmla="*/ 43 h 390"/>
                <a:gd name="T46" fmla="*/ 70 w 482"/>
                <a:gd name="T47" fmla="*/ 20 h 390"/>
                <a:gd name="T48" fmla="*/ 101 w 482"/>
                <a:gd name="T49" fmla="*/ 26 h 390"/>
                <a:gd name="T50" fmla="*/ 193 w 482"/>
                <a:gd name="T51" fmla="*/ 93 h 390"/>
                <a:gd name="T52" fmla="*/ 281 w 482"/>
                <a:gd name="T53" fmla="*/ 147 h 390"/>
                <a:gd name="T54" fmla="*/ 291 w 482"/>
                <a:gd name="T55" fmla="*/ 132 h 390"/>
                <a:gd name="T56" fmla="*/ 272 w 482"/>
                <a:gd name="T57" fmla="*/ 73 h 390"/>
                <a:gd name="T58" fmla="*/ 295 w 482"/>
                <a:gd name="T59" fmla="*/ 2 h 390"/>
                <a:gd name="T60" fmla="*/ 302 w 482"/>
                <a:gd name="T61" fmla="*/ 30 h 390"/>
                <a:gd name="T62" fmla="*/ 324 w 482"/>
                <a:gd name="T63" fmla="*/ 106 h 390"/>
                <a:gd name="T64" fmla="*/ 380 w 482"/>
                <a:gd name="T65" fmla="*/ 210 h 390"/>
                <a:gd name="T66" fmla="*/ 444 w 482"/>
                <a:gd name="T67" fmla="*/ 274 h 390"/>
                <a:gd name="T68" fmla="*/ 467 w 482"/>
                <a:gd name="T69" fmla="*/ 287 h 390"/>
                <a:gd name="T70" fmla="*/ 462 w 482"/>
                <a:gd name="T71" fmla="*/ 320 h 390"/>
                <a:gd name="T72" fmla="*/ 375 w 482"/>
                <a:gd name="T73" fmla="*/ 38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390">
                  <a:moveTo>
                    <a:pt x="375" y="380"/>
                  </a:moveTo>
                  <a:lnTo>
                    <a:pt x="375" y="380"/>
                  </a:lnTo>
                  <a:cubicBezTo>
                    <a:pt x="357" y="390"/>
                    <a:pt x="337" y="389"/>
                    <a:pt x="321" y="384"/>
                  </a:cubicBezTo>
                  <a:cubicBezTo>
                    <a:pt x="284" y="372"/>
                    <a:pt x="259" y="364"/>
                    <a:pt x="213" y="335"/>
                  </a:cubicBezTo>
                  <a:cubicBezTo>
                    <a:pt x="97" y="262"/>
                    <a:pt x="38" y="195"/>
                    <a:pt x="32" y="187"/>
                  </a:cubicBezTo>
                  <a:cubicBezTo>
                    <a:pt x="27" y="180"/>
                    <a:pt x="26" y="170"/>
                    <a:pt x="29" y="166"/>
                  </a:cubicBezTo>
                  <a:cubicBezTo>
                    <a:pt x="33" y="163"/>
                    <a:pt x="40" y="167"/>
                    <a:pt x="44" y="169"/>
                  </a:cubicBezTo>
                  <a:cubicBezTo>
                    <a:pt x="66" y="189"/>
                    <a:pt x="92" y="211"/>
                    <a:pt x="111" y="223"/>
                  </a:cubicBezTo>
                  <a:cubicBezTo>
                    <a:pt x="116" y="227"/>
                    <a:pt x="126" y="234"/>
                    <a:pt x="130" y="230"/>
                  </a:cubicBezTo>
                  <a:cubicBezTo>
                    <a:pt x="134" y="225"/>
                    <a:pt x="131" y="220"/>
                    <a:pt x="125" y="216"/>
                  </a:cubicBezTo>
                  <a:cubicBezTo>
                    <a:pt x="73" y="177"/>
                    <a:pt x="21" y="128"/>
                    <a:pt x="14" y="120"/>
                  </a:cubicBezTo>
                  <a:cubicBezTo>
                    <a:pt x="3" y="109"/>
                    <a:pt x="0" y="100"/>
                    <a:pt x="5" y="94"/>
                  </a:cubicBezTo>
                  <a:cubicBezTo>
                    <a:pt x="11" y="87"/>
                    <a:pt x="18" y="91"/>
                    <a:pt x="28" y="98"/>
                  </a:cubicBezTo>
                  <a:cubicBezTo>
                    <a:pt x="37" y="104"/>
                    <a:pt x="89" y="151"/>
                    <a:pt x="134" y="182"/>
                  </a:cubicBezTo>
                  <a:cubicBezTo>
                    <a:pt x="148" y="191"/>
                    <a:pt x="159" y="197"/>
                    <a:pt x="164" y="191"/>
                  </a:cubicBezTo>
                  <a:cubicBezTo>
                    <a:pt x="169" y="185"/>
                    <a:pt x="158" y="174"/>
                    <a:pt x="149" y="167"/>
                  </a:cubicBezTo>
                  <a:cubicBezTo>
                    <a:pt x="76" y="115"/>
                    <a:pt x="39" y="77"/>
                    <a:pt x="30" y="66"/>
                  </a:cubicBezTo>
                  <a:cubicBezTo>
                    <a:pt x="22" y="58"/>
                    <a:pt x="20" y="48"/>
                    <a:pt x="25" y="42"/>
                  </a:cubicBezTo>
                  <a:cubicBezTo>
                    <a:pt x="30" y="35"/>
                    <a:pt x="39" y="37"/>
                    <a:pt x="49" y="46"/>
                  </a:cubicBezTo>
                  <a:cubicBezTo>
                    <a:pt x="101" y="93"/>
                    <a:pt x="162" y="135"/>
                    <a:pt x="174" y="143"/>
                  </a:cubicBezTo>
                  <a:cubicBezTo>
                    <a:pt x="186" y="150"/>
                    <a:pt x="197" y="155"/>
                    <a:pt x="201" y="150"/>
                  </a:cubicBezTo>
                  <a:cubicBezTo>
                    <a:pt x="204" y="146"/>
                    <a:pt x="201" y="139"/>
                    <a:pt x="195" y="135"/>
                  </a:cubicBezTo>
                  <a:cubicBezTo>
                    <a:pt x="155" y="108"/>
                    <a:pt x="91" y="58"/>
                    <a:pt x="76" y="43"/>
                  </a:cubicBezTo>
                  <a:cubicBezTo>
                    <a:pt x="67" y="35"/>
                    <a:pt x="65" y="27"/>
                    <a:pt x="70" y="20"/>
                  </a:cubicBezTo>
                  <a:cubicBezTo>
                    <a:pt x="76" y="13"/>
                    <a:pt x="89" y="17"/>
                    <a:pt x="101" y="26"/>
                  </a:cubicBezTo>
                  <a:cubicBezTo>
                    <a:pt x="115" y="37"/>
                    <a:pt x="146" y="61"/>
                    <a:pt x="193" y="93"/>
                  </a:cubicBezTo>
                  <a:cubicBezTo>
                    <a:pt x="254" y="135"/>
                    <a:pt x="269" y="146"/>
                    <a:pt x="281" y="147"/>
                  </a:cubicBezTo>
                  <a:cubicBezTo>
                    <a:pt x="286" y="147"/>
                    <a:pt x="295" y="147"/>
                    <a:pt x="291" y="132"/>
                  </a:cubicBezTo>
                  <a:cubicBezTo>
                    <a:pt x="287" y="115"/>
                    <a:pt x="276" y="91"/>
                    <a:pt x="272" y="73"/>
                  </a:cubicBezTo>
                  <a:cubicBezTo>
                    <a:pt x="263" y="30"/>
                    <a:pt x="279" y="0"/>
                    <a:pt x="295" y="2"/>
                  </a:cubicBezTo>
                  <a:cubicBezTo>
                    <a:pt x="300" y="2"/>
                    <a:pt x="301" y="20"/>
                    <a:pt x="302" y="30"/>
                  </a:cubicBezTo>
                  <a:cubicBezTo>
                    <a:pt x="305" y="57"/>
                    <a:pt x="312" y="75"/>
                    <a:pt x="324" y="106"/>
                  </a:cubicBezTo>
                  <a:cubicBezTo>
                    <a:pt x="339" y="142"/>
                    <a:pt x="356" y="175"/>
                    <a:pt x="380" y="210"/>
                  </a:cubicBezTo>
                  <a:cubicBezTo>
                    <a:pt x="396" y="234"/>
                    <a:pt x="407" y="251"/>
                    <a:pt x="444" y="274"/>
                  </a:cubicBezTo>
                  <a:cubicBezTo>
                    <a:pt x="453" y="279"/>
                    <a:pt x="458" y="281"/>
                    <a:pt x="467" y="287"/>
                  </a:cubicBezTo>
                  <a:cubicBezTo>
                    <a:pt x="473" y="290"/>
                    <a:pt x="482" y="304"/>
                    <a:pt x="462" y="320"/>
                  </a:cubicBezTo>
                  <a:cubicBezTo>
                    <a:pt x="447" y="332"/>
                    <a:pt x="408" y="362"/>
                    <a:pt x="375" y="380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5" name="Freeform 27">
              <a:extLst>
                <a:ext uri="{FF2B5EF4-FFF2-40B4-BE49-F238E27FC236}">
                  <a16:creationId xmlns:a16="http://schemas.microsoft.com/office/drawing/2014/main" id="{0EB0386F-30B0-4388-8CE4-0B123D0E7D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14" y="4391"/>
              <a:ext cx="214" cy="316"/>
            </a:xfrm>
            <a:custGeom>
              <a:avLst/>
              <a:gdLst>
                <a:gd name="T0" fmla="*/ 21 w 357"/>
                <a:gd name="T1" fmla="*/ 444 h 521"/>
                <a:gd name="T2" fmla="*/ 21 w 357"/>
                <a:gd name="T3" fmla="*/ 444 h 521"/>
                <a:gd name="T4" fmla="*/ 1 w 357"/>
                <a:gd name="T5" fmla="*/ 393 h 521"/>
                <a:gd name="T6" fmla="*/ 14 w 357"/>
                <a:gd name="T7" fmla="*/ 275 h 521"/>
                <a:gd name="T8" fmla="*/ 98 w 357"/>
                <a:gd name="T9" fmla="*/ 58 h 521"/>
                <a:gd name="T10" fmla="*/ 118 w 357"/>
                <a:gd name="T11" fmla="*/ 48 h 521"/>
                <a:gd name="T12" fmla="*/ 119 w 357"/>
                <a:gd name="T13" fmla="*/ 63 h 521"/>
                <a:gd name="T14" fmla="*/ 88 w 357"/>
                <a:gd name="T15" fmla="*/ 143 h 521"/>
                <a:gd name="T16" fmla="*/ 88 w 357"/>
                <a:gd name="T17" fmla="*/ 164 h 521"/>
                <a:gd name="T18" fmla="*/ 100 w 357"/>
                <a:gd name="T19" fmla="*/ 155 h 521"/>
                <a:gd name="T20" fmla="*/ 157 w 357"/>
                <a:gd name="T21" fmla="*/ 19 h 521"/>
                <a:gd name="T22" fmla="*/ 179 w 357"/>
                <a:gd name="T23" fmla="*/ 3 h 521"/>
                <a:gd name="T24" fmla="*/ 182 w 357"/>
                <a:gd name="T25" fmla="*/ 25 h 521"/>
                <a:gd name="T26" fmla="*/ 135 w 357"/>
                <a:gd name="T27" fmla="*/ 153 h 521"/>
                <a:gd name="T28" fmla="*/ 136 w 357"/>
                <a:gd name="T29" fmla="*/ 184 h 521"/>
                <a:gd name="T30" fmla="*/ 154 w 357"/>
                <a:gd name="T31" fmla="*/ 162 h 521"/>
                <a:gd name="T32" fmla="*/ 213 w 357"/>
                <a:gd name="T33" fmla="*/ 18 h 521"/>
                <a:gd name="T34" fmla="*/ 234 w 357"/>
                <a:gd name="T35" fmla="*/ 6 h 521"/>
                <a:gd name="T36" fmla="*/ 238 w 357"/>
                <a:gd name="T37" fmla="*/ 30 h 521"/>
                <a:gd name="T38" fmla="*/ 185 w 357"/>
                <a:gd name="T39" fmla="*/ 179 h 521"/>
                <a:gd name="T40" fmla="*/ 186 w 357"/>
                <a:gd name="T41" fmla="*/ 206 h 521"/>
                <a:gd name="T42" fmla="*/ 199 w 357"/>
                <a:gd name="T43" fmla="*/ 196 h 521"/>
                <a:gd name="T44" fmla="*/ 249 w 357"/>
                <a:gd name="T45" fmla="*/ 54 h 521"/>
                <a:gd name="T46" fmla="*/ 269 w 357"/>
                <a:gd name="T47" fmla="*/ 42 h 521"/>
                <a:gd name="T48" fmla="*/ 273 w 357"/>
                <a:gd name="T49" fmla="*/ 73 h 521"/>
                <a:gd name="T50" fmla="*/ 238 w 357"/>
                <a:gd name="T51" fmla="*/ 181 h 521"/>
                <a:gd name="T52" fmla="*/ 214 w 357"/>
                <a:gd name="T53" fmla="*/ 282 h 521"/>
                <a:gd name="T54" fmla="*/ 231 w 357"/>
                <a:gd name="T55" fmla="*/ 287 h 521"/>
                <a:gd name="T56" fmla="*/ 281 w 357"/>
                <a:gd name="T57" fmla="*/ 250 h 521"/>
                <a:gd name="T58" fmla="*/ 356 w 357"/>
                <a:gd name="T59" fmla="*/ 250 h 521"/>
                <a:gd name="T60" fmla="*/ 331 w 357"/>
                <a:gd name="T61" fmla="*/ 266 h 521"/>
                <a:gd name="T62" fmla="*/ 266 w 357"/>
                <a:gd name="T63" fmla="*/ 311 h 521"/>
                <a:gd name="T64" fmla="*/ 185 w 357"/>
                <a:gd name="T65" fmla="*/ 395 h 521"/>
                <a:gd name="T66" fmla="*/ 144 w 357"/>
                <a:gd name="T67" fmla="*/ 476 h 521"/>
                <a:gd name="T68" fmla="*/ 138 w 357"/>
                <a:gd name="T69" fmla="*/ 501 h 521"/>
                <a:gd name="T70" fmla="*/ 105 w 357"/>
                <a:gd name="T71" fmla="*/ 507 h 521"/>
                <a:gd name="T72" fmla="*/ 21 w 357"/>
                <a:gd name="T73" fmla="*/ 444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7" h="521">
                  <a:moveTo>
                    <a:pt x="21" y="444"/>
                  </a:moveTo>
                  <a:lnTo>
                    <a:pt x="21" y="444"/>
                  </a:lnTo>
                  <a:cubicBezTo>
                    <a:pt x="6" y="429"/>
                    <a:pt x="1" y="410"/>
                    <a:pt x="1" y="393"/>
                  </a:cubicBezTo>
                  <a:cubicBezTo>
                    <a:pt x="0" y="354"/>
                    <a:pt x="0" y="328"/>
                    <a:pt x="14" y="275"/>
                  </a:cubicBezTo>
                  <a:cubicBezTo>
                    <a:pt x="47" y="142"/>
                    <a:pt x="93" y="66"/>
                    <a:pt x="98" y="58"/>
                  </a:cubicBezTo>
                  <a:cubicBezTo>
                    <a:pt x="104" y="50"/>
                    <a:pt x="113" y="46"/>
                    <a:pt x="118" y="48"/>
                  </a:cubicBezTo>
                  <a:cubicBezTo>
                    <a:pt x="122" y="50"/>
                    <a:pt x="121" y="58"/>
                    <a:pt x="119" y="63"/>
                  </a:cubicBezTo>
                  <a:cubicBezTo>
                    <a:pt x="107" y="90"/>
                    <a:pt x="95" y="122"/>
                    <a:pt x="88" y="143"/>
                  </a:cubicBezTo>
                  <a:cubicBezTo>
                    <a:pt x="87" y="149"/>
                    <a:pt x="83" y="161"/>
                    <a:pt x="88" y="164"/>
                  </a:cubicBezTo>
                  <a:cubicBezTo>
                    <a:pt x="94" y="166"/>
                    <a:pt x="98" y="161"/>
                    <a:pt x="100" y="155"/>
                  </a:cubicBezTo>
                  <a:cubicBezTo>
                    <a:pt x="121" y="94"/>
                    <a:pt x="151" y="29"/>
                    <a:pt x="157" y="19"/>
                  </a:cubicBezTo>
                  <a:cubicBezTo>
                    <a:pt x="164" y="6"/>
                    <a:pt x="172" y="0"/>
                    <a:pt x="179" y="3"/>
                  </a:cubicBezTo>
                  <a:cubicBezTo>
                    <a:pt x="187" y="6"/>
                    <a:pt x="186" y="15"/>
                    <a:pt x="182" y="25"/>
                  </a:cubicBezTo>
                  <a:cubicBezTo>
                    <a:pt x="179" y="36"/>
                    <a:pt x="150" y="101"/>
                    <a:pt x="135" y="153"/>
                  </a:cubicBezTo>
                  <a:cubicBezTo>
                    <a:pt x="131" y="168"/>
                    <a:pt x="129" y="181"/>
                    <a:pt x="136" y="184"/>
                  </a:cubicBezTo>
                  <a:cubicBezTo>
                    <a:pt x="143" y="187"/>
                    <a:pt x="150" y="173"/>
                    <a:pt x="154" y="162"/>
                  </a:cubicBezTo>
                  <a:cubicBezTo>
                    <a:pt x="181" y="77"/>
                    <a:pt x="206" y="30"/>
                    <a:pt x="213" y="18"/>
                  </a:cubicBezTo>
                  <a:cubicBezTo>
                    <a:pt x="219" y="8"/>
                    <a:pt x="228" y="3"/>
                    <a:pt x="234" y="6"/>
                  </a:cubicBezTo>
                  <a:cubicBezTo>
                    <a:pt x="242" y="9"/>
                    <a:pt x="243" y="17"/>
                    <a:pt x="238" y="30"/>
                  </a:cubicBezTo>
                  <a:cubicBezTo>
                    <a:pt x="210" y="93"/>
                    <a:pt x="188" y="165"/>
                    <a:pt x="185" y="179"/>
                  </a:cubicBezTo>
                  <a:cubicBezTo>
                    <a:pt x="182" y="192"/>
                    <a:pt x="180" y="204"/>
                    <a:pt x="186" y="206"/>
                  </a:cubicBezTo>
                  <a:cubicBezTo>
                    <a:pt x="191" y="209"/>
                    <a:pt x="196" y="204"/>
                    <a:pt x="199" y="196"/>
                  </a:cubicBezTo>
                  <a:cubicBezTo>
                    <a:pt x="212" y="149"/>
                    <a:pt x="240" y="73"/>
                    <a:pt x="249" y="54"/>
                  </a:cubicBezTo>
                  <a:cubicBezTo>
                    <a:pt x="254" y="43"/>
                    <a:pt x="261" y="39"/>
                    <a:pt x="269" y="42"/>
                  </a:cubicBezTo>
                  <a:cubicBezTo>
                    <a:pt x="278" y="45"/>
                    <a:pt x="278" y="59"/>
                    <a:pt x="273" y="73"/>
                  </a:cubicBezTo>
                  <a:cubicBezTo>
                    <a:pt x="267" y="90"/>
                    <a:pt x="254" y="127"/>
                    <a:pt x="238" y="181"/>
                  </a:cubicBezTo>
                  <a:cubicBezTo>
                    <a:pt x="217" y="252"/>
                    <a:pt x="211" y="270"/>
                    <a:pt x="214" y="282"/>
                  </a:cubicBezTo>
                  <a:cubicBezTo>
                    <a:pt x="215" y="286"/>
                    <a:pt x="218" y="295"/>
                    <a:pt x="231" y="287"/>
                  </a:cubicBezTo>
                  <a:cubicBezTo>
                    <a:pt x="246" y="278"/>
                    <a:pt x="265" y="260"/>
                    <a:pt x="281" y="250"/>
                  </a:cubicBezTo>
                  <a:cubicBezTo>
                    <a:pt x="319" y="228"/>
                    <a:pt x="353" y="235"/>
                    <a:pt x="356" y="250"/>
                  </a:cubicBezTo>
                  <a:cubicBezTo>
                    <a:pt x="357" y="255"/>
                    <a:pt x="341" y="262"/>
                    <a:pt x="331" y="266"/>
                  </a:cubicBezTo>
                  <a:cubicBezTo>
                    <a:pt x="307" y="277"/>
                    <a:pt x="292" y="289"/>
                    <a:pt x="266" y="311"/>
                  </a:cubicBezTo>
                  <a:cubicBezTo>
                    <a:pt x="236" y="335"/>
                    <a:pt x="211" y="362"/>
                    <a:pt x="185" y="395"/>
                  </a:cubicBezTo>
                  <a:cubicBezTo>
                    <a:pt x="166" y="418"/>
                    <a:pt x="154" y="434"/>
                    <a:pt x="144" y="476"/>
                  </a:cubicBezTo>
                  <a:cubicBezTo>
                    <a:pt x="141" y="486"/>
                    <a:pt x="141" y="492"/>
                    <a:pt x="138" y="501"/>
                  </a:cubicBezTo>
                  <a:cubicBezTo>
                    <a:pt x="137" y="509"/>
                    <a:pt x="127" y="521"/>
                    <a:pt x="105" y="507"/>
                  </a:cubicBezTo>
                  <a:cubicBezTo>
                    <a:pt x="89" y="497"/>
                    <a:pt x="49" y="469"/>
                    <a:pt x="21" y="444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6" name="Freeform 28">
              <a:extLst>
                <a:ext uri="{FF2B5EF4-FFF2-40B4-BE49-F238E27FC236}">
                  <a16:creationId xmlns:a16="http://schemas.microsoft.com/office/drawing/2014/main" id="{72D6CFEC-9D23-4D8C-88E5-3D504ECFA5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1" y="4192"/>
              <a:ext cx="315" cy="200"/>
            </a:xfrm>
            <a:custGeom>
              <a:avLst/>
              <a:gdLst>
                <a:gd name="T0" fmla="*/ 42 w 524"/>
                <a:gd name="T1" fmla="*/ 69 h 330"/>
                <a:gd name="T2" fmla="*/ 42 w 524"/>
                <a:gd name="T3" fmla="*/ 69 h 330"/>
                <a:gd name="T4" fmla="*/ 83 w 524"/>
                <a:gd name="T5" fmla="*/ 34 h 330"/>
                <a:gd name="T6" fmla="*/ 199 w 524"/>
                <a:gd name="T7" fmla="*/ 10 h 330"/>
                <a:gd name="T8" fmla="*/ 432 w 524"/>
                <a:gd name="T9" fmla="*/ 23 h 330"/>
                <a:gd name="T10" fmla="*/ 447 w 524"/>
                <a:gd name="T11" fmla="*/ 38 h 330"/>
                <a:gd name="T12" fmla="*/ 434 w 524"/>
                <a:gd name="T13" fmla="*/ 44 h 330"/>
                <a:gd name="T14" fmla="*/ 348 w 524"/>
                <a:gd name="T15" fmla="*/ 40 h 330"/>
                <a:gd name="T16" fmla="*/ 328 w 524"/>
                <a:gd name="T17" fmla="*/ 46 h 330"/>
                <a:gd name="T18" fmla="*/ 341 w 524"/>
                <a:gd name="T19" fmla="*/ 54 h 330"/>
                <a:gd name="T20" fmla="*/ 487 w 524"/>
                <a:gd name="T21" fmla="*/ 67 h 330"/>
                <a:gd name="T22" fmla="*/ 509 w 524"/>
                <a:gd name="T23" fmla="*/ 83 h 330"/>
                <a:gd name="T24" fmla="*/ 489 w 524"/>
                <a:gd name="T25" fmla="*/ 93 h 330"/>
                <a:gd name="T26" fmla="*/ 353 w 524"/>
                <a:gd name="T27" fmla="*/ 88 h 330"/>
                <a:gd name="T28" fmla="*/ 324 w 524"/>
                <a:gd name="T29" fmla="*/ 98 h 330"/>
                <a:gd name="T30" fmla="*/ 350 w 524"/>
                <a:gd name="T31" fmla="*/ 108 h 330"/>
                <a:gd name="T32" fmla="*/ 506 w 524"/>
                <a:gd name="T33" fmla="*/ 120 h 330"/>
                <a:gd name="T34" fmla="*/ 524 w 524"/>
                <a:gd name="T35" fmla="*/ 136 h 330"/>
                <a:gd name="T36" fmla="*/ 502 w 524"/>
                <a:gd name="T37" fmla="*/ 147 h 330"/>
                <a:gd name="T38" fmla="*/ 344 w 524"/>
                <a:gd name="T39" fmla="*/ 143 h 330"/>
                <a:gd name="T40" fmla="*/ 318 w 524"/>
                <a:gd name="T41" fmla="*/ 152 h 330"/>
                <a:gd name="T42" fmla="*/ 332 w 524"/>
                <a:gd name="T43" fmla="*/ 161 h 330"/>
                <a:gd name="T44" fmla="*/ 482 w 524"/>
                <a:gd name="T45" fmla="*/ 165 h 330"/>
                <a:gd name="T46" fmla="*/ 500 w 524"/>
                <a:gd name="T47" fmla="*/ 181 h 330"/>
                <a:gd name="T48" fmla="*/ 471 w 524"/>
                <a:gd name="T49" fmla="*/ 194 h 330"/>
                <a:gd name="T50" fmla="*/ 358 w 524"/>
                <a:gd name="T51" fmla="*/ 194 h 330"/>
                <a:gd name="T52" fmla="*/ 255 w 524"/>
                <a:gd name="T53" fmla="*/ 202 h 330"/>
                <a:gd name="T54" fmla="*/ 255 w 524"/>
                <a:gd name="T55" fmla="*/ 220 h 330"/>
                <a:gd name="T56" fmla="*/ 305 w 524"/>
                <a:gd name="T57" fmla="*/ 256 h 330"/>
                <a:gd name="T58" fmla="*/ 329 w 524"/>
                <a:gd name="T59" fmla="*/ 328 h 330"/>
                <a:gd name="T60" fmla="*/ 306 w 524"/>
                <a:gd name="T61" fmla="*/ 309 h 330"/>
                <a:gd name="T62" fmla="*/ 244 w 524"/>
                <a:gd name="T63" fmla="*/ 260 h 330"/>
                <a:gd name="T64" fmla="*/ 138 w 524"/>
                <a:gd name="T65" fmla="*/ 209 h 330"/>
                <a:gd name="T66" fmla="*/ 49 w 524"/>
                <a:gd name="T67" fmla="*/ 195 h 330"/>
                <a:gd name="T68" fmla="*/ 23 w 524"/>
                <a:gd name="T69" fmla="*/ 198 h 330"/>
                <a:gd name="T70" fmla="*/ 7 w 524"/>
                <a:gd name="T71" fmla="*/ 169 h 330"/>
                <a:gd name="T72" fmla="*/ 42 w 524"/>
                <a:gd name="T73" fmla="*/ 69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4" h="330">
                  <a:moveTo>
                    <a:pt x="42" y="69"/>
                  </a:moveTo>
                  <a:lnTo>
                    <a:pt x="42" y="69"/>
                  </a:lnTo>
                  <a:cubicBezTo>
                    <a:pt x="50" y="50"/>
                    <a:pt x="68" y="40"/>
                    <a:pt x="83" y="34"/>
                  </a:cubicBezTo>
                  <a:cubicBezTo>
                    <a:pt x="120" y="21"/>
                    <a:pt x="145" y="13"/>
                    <a:pt x="199" y="10"/>
                  </a:cubicBezTo>
                  <a:cubicBezTo>
                    <a:pt x="336" y="0"/>
                    <a:pt x="423" y="21"/>
                    <a:pt x="432" y="23"/>
                  </a:cubicBezTo>
                  <a:cubicBezTo>
                    <a:pt x="441" y="26"/>
                    <a:pt x="448" y="34"/>
                    <a:pt x="447" y="38"/>
                  </a:cubicBezTo>
                  <a:cubicBezTo>
                    <a:pt x="447" y="43"/>
                    <a:pt x="438" y="44"/>
                    <a:pt x="434" y="44"/>
                  </a:cubicBezTo>
                  <a:cubicBezTo>
                    <a:pt x="404" y="42"/>
                    <a:pt x="370" y="40"/>
                    <a:pt x="348" y="40"/>
                  </a:cubicBezTo>
                  <a:cubicBezTo>
                    <a:pt x="341" y="40"/>
                    <a:pt x="329" y="41"/>
                    <a:pt x="328" y="46"/>
                  </a:cubicBezTo>
                  <a:cubicBezTo>
                    <a:pt x="328" y="52"/>
                    <a:pt x="334" y="55"/>
                    <a:pt x="341" y="54"/>
                  </a:cubicBezTo>
                  <a:cubicBezTo>
                    <a:pt x="405" y="56"/>
                    <a:pt x="476" y="65"/>
                    <a:pt x="487" y="67"/>
                  </a:cubicBezTo>
                  <a:cubicBezTo>
                    <a:pt x="502" y="69"/>
                    <a:pt x="510" y="75"/>
                    <a:pt x="509" y="83"/>
                  </a:cubicBezTo>
                  <a:cubicBezTo>
                    <a:pt x="509" y="91"/>
                    <a:pt x="500" y="93"/>
                    <a:pt x="489" y="93"/>
                  </a:cubicBezTo>
                  <a:cubicBezTo>
                    <a:pt x="478" y="93"/>
                    <a:pt x="408" y="86"/>
                    <a:pt x="353" y="88"/>
                  </a:cubicBezTo>
                  <a:cubicBezTo>
                    <a:pt x="337" y="88"/>
                    <a:pt x="324" y="90"/>
                    <a:pt x="324" y="98"/>
                  </a:cubicBezTo>
                  <a:cubicBezTo>
                    <a:pt x="324" y="106"/>
                    <a:pt x="338" y="108"/>
                    <a:pt x="350" y="108"/>
                  </a:cubicBezTo>
                  <a:cubicBezTo>
                    <a:pt x="439" y="107"/>
                    <a:pt x="492" y="117"/>
                    <a:pt x="506" y="120"/>
                  </a:cubicBezTo>
                  <a:cubicBezTo>
                    <a:pt x="517" y="122"/>
                    <a:pt x="524" y="129"/>
                    <a:pt x="524" y="136"/>
                  </a:cubicBezTo>
                  <a:cubicBezTo>
                    <a:pt x="523" y="145"/>
                    <a:pt x="516" y="149"/>
                    <a:pt x="502" y="147"/>
                  </a:cubicBezTo>
                  <a:cubicBezTo>
                    <a:pt x="433" y="140"/>
                    <a:pt x="358" y="142"/>
                    <a:pt x="344" y="143"/>
                  </a:cubicBezTo>
                  <a:cubicBezTo>
                    <a:pt x="330" y="144"/>
                    <a:pt x="318" y="146"/>
                    <a:pt x="318" y="152"/>
                  </a:cubicBezTo>
                  <a:cubicBezTo>
                    <a:pt x="318" y="158"/>
                    <a:pt x="324" y="161"/>
                    <a:pt x="332" y="161"/>
                  </a:cubicBezTo>
                  <a:cubicBezTo>
                    <a:pt x="380" y="159"/>
                    <a:pt x="461" y="162"/>
                    <a:pt x="482" y="165"/>
                  </a:cubicBezTo>
                  <a:cubicBezTo>
                    <a:pt x="494" y="167"/>
                    <a:pt x="501" y="172"/>
                    <a:pt x="500" y="181"/>
                  </a:cubicBezTo>
                  <a:cubicBezTo>
                    <a:pt x="499" y="190"/>
                    <a:pt x="487" y="194"/>
                    <a:pt x="471" y="194"/>
                  </a:cubicBezTo>
                  <a:cubicBezTo>
                    <a:pt x="454" y="194"/>
                    <a:pt x="415" y="192"/>
                    <a:pt x="358" y="194"/>
                  </a:cubicBezTo>
                  <a:cubicBezTo>
                    <a:pt x="284" y="196"/>
                    <a:pt x="265" y="196"/>
                    <a:pt x="255" y="202"/>
                  </a:cubicBezTo>
                  <a:cubicBezTo>
                    <a:pt x="251" y="205"/>
                    <a:pt x="244" y="210"/>
                    <a:pt x="255" y="220"/>
                  </a:cubicBezTo>
                  <a:cubicBezTo>
                    <a:pt x="268" y="232"/>
                    <a:pt x="292" y="244"/>
                    <a:pt x="305" y="256"/>
                  </a:cubicBezTo>
                  <a:cubicBezTo>
                    <a:pt x="338" y="286"/>
                    <a:pt x="343" y="320"/>
                    <a:pt x="329" y="328"/>
                  </a:cubicBezTo>
                  <a:cubicBezTo>
                    <a:pt x="325" y="330"/>
                    <a:pt x="313" y="317"/>
                    <a:pt x="306" y="309"/>
                  </a:cubicBezTo>
                  <a:cubicBezTo>
                    <a:pt x="288" y="289"/>
                    <a:pt x="272" y="278"/>
                    <a:pt x="244" y="260"/>
                  </a:cubicBezTo>
                  <a:cubicBezTo>
                    <a:pt x="211" y="240"/>
                    <a:pt x="178" y="224"/>
                    <a:pt x="138" y="209"/>
                  </a:cubicBezTo>
                  <a:cubicBezTo>
                    <a:pt x="111" y="199"/>
                    <a:pt x="92" y="192"/>
                    <a:pt x="49" y="195"/>
                  </a:cubicBezTo>
                  <a:cubicBezTo>
                    <a:pt x="38" y="196"/>
                    <a:pt x="33" y="197"/>
                    <a:pt x="23" y="198"/>
                  </a:cubicBezTo>
                  <a:cubicBezTo>
                    <a:pt x="15" y="199"/>
                    <a:pt x="0" y="193"/>
                    <a:pt x="7" y="169"/>
                  </a:cubicBezTo>
                  <a:cubicBezTo>
                    <a:pt x="12" y="150"/>
                    <a:pt x="26" y="103"/>
                    <a:pt x="42" y="69"/>
                  </a:cubicBez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7" name="Freeform 29">
              <a:extLst>
                <a:ext uri="{FF2B5EF4-FFF2-40B4-BE49-F238E27FC236}">
                  <a16:creationId xmlns:a16="http://schemas.microsoft.com/office/drawing/2014/main" id="{5364BAC9-430D-4CCE-A672-E24858B654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13" y="3938"/>
              <a:ext cx="13" cy="13"/>
            </a:xfrm>
            <a:custGeom>
              <a:avLst/>
              <a:gdLst>
                <a:gd name="T0" fmla="*/ 11 w 21"/>
                <a:gd name="T1" fmla="*/ 0 h 20"/>
                <a:gd name="T2" fmla="*/ 11 w 21"/>
                <a:gd name="T3" fmla="*/ 0 h 20"/>
                <a:gd name="T4" fmla="*/ 13 w 21"/>
                <a:gd name="T5" fmla="*/ 8 h 20"/>
                <a:gd name="T6" fmla="*/ 21 w 21"/>
                <a:gd name="T7" fmla="*/ 8 h 20"/>
                <a:gd name="T8" fmla="*/ 15 w 21"/>
                <a:gd name="T9" fmla="*/ 13 h 20"/>
                <a:gd name="T10" fmla="*/ 17 w 21"/>
                <a:gd name="T11" fmla="*/ 20 h 20"/>
                <a:gd name="T12" fmla="*/ 11 w 21"/>
                <a:gd name="T13" fmla="*/ 16 h 20"/>
                <a:gd name="T14" fmla="*/ 4 w 21"/>
                <a:gd name="T15" fmla="*/ 20 h 20"/>
                <a:gd name="T16" fmla="*/ 7 w 21"/>
                <a:gd name="T17" fmla="*/ 13 h 20"/>
                <a:gd name="T18" fmla="*/ 0 w 21"/>
                <a:gd name="T19" fmla="*/ 8 h 20"/>
                <a:gd name="T20" fmla="*/ 8 w 21"/>
                <a:gd name="T21" fmla="*/ 8 h 20"/>
                <a:gd name="T22" fmla="*/ 11 w 21"/>
                <a:gd name="T2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0">
                  <a:moveTo>
                    <a:pt x="11" y="0"/>
                  </a:moveTo>
                  <a:lnTo>
                    <a:pt x="11" y="0"/>
                  </a:lnTo>
                  <a:lnTo>
                    <a:pt x="13" y="8"/>
                  </a:lnTo>
                  <a:lnTo>
                    <a:pt x="21" y="8"/>
                  </a:lnTo>
                  <a:lnTo>
                    <a:pt x="15" y="13"/>
                  </a:lnTo>
                  <a:lnTo>
                    <a:pt x="17" y="20"/>
                  </a:lnTo>
                  <a:lnTo>
                    <a:pt x="11" y="16"/>
                  </a:lnTo>
                  <a:lnTo>
                    <a:pt x="4" y="20"/>
                  </a:lnTo>
                  <a:lnTo>
                    <a:pt x="7" y="13"/>
                  </a:lnTo>
                  <a:lnTo>
                    <a:pt x="0" y="8"/>
                  </a:lnTo>
                  <a:lnTo>
                    <a:pt x="8" y="8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8" name="Freeform 30">
              <a:extLst>
                <a:ext uri="{FF2B5EF4-FFF2-40B4-BE49-F238E27FC236}">
                  <a16:creationId xmlns:a16="http://schemas.microsoft.com/office/drawing/2014/main" id="{7D47D5F2-EC11-46AD-9D11-8B679C57B6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97" y="3966"/>
              <a:ext cx="45" cy="44"/>
            </a:xfrm>
            <a:custGeom>
              <a:avLst/>
              <a:gdLst>
                <a:gd name="T0" fmla="*/ 38 w 76"/>
                <a:gd name="T1" fmla="*/ 0 h 72"/>
                <a:gd name="T2" fmla="*/ 38 w 76"/>
                <a:gd name="T3" fmla="*/ 0 h 72"/>
                <a:gd name="T4" fmla="*/ 47 w 76"/>
                <a:gd name="T5" fmla="*/ 27 h 72"/>
                <a:gd name="T6" fmla="*/ 76 w 76"/>
                <a:gd name="T7" fmla="*/ 28 h 72"/>
                <a:gd name="T8" fmla="*/ 53 w 76"/>
                <a:gd name="T9" fmla="*/ 45 h 72"/>
                <a:gd name="T10" fmla="*/ 61 w 76"/>
                <a:gd name="T11" fmla="*/ 72 h 72"/>
                <a:gd name="T12" fmla="*/ 38 w 76"/>
                <a:gd name="T13" fmla="*/ 56 h 72"/>
                <a:gd name="T14" fmla="*/ 15 w 76"/>
                <a:gd name="T15" fmla="*/ 72 h 72"/>
                <a:gd name="T16" fmla="*/ 23 w 76"/>
                <a:gd name="T17" fmla="*/ 45 h 72"/>
                <a:gd name="T18" fmla="*/ 0 w 76"/>
                <a:gd name="T19" fmla="*/ 28 h 72"/>
                <a:gd name="T20" fmla="*/ 29 w 76"/>
                <a:gd name="T21" fmla="*/ 27 h 72"/>
                <a:gd name="T22" fmla="*/ 38 w 76"/>
                <a:gd name="T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" h="72">
                  <a:moveTo>
                    <a:pt x="38" y="0"/>
                  </a:moveTo>
                  <a:lnTo>
                    <a:pt x="38" y="0"/>
                  </a:lnTo>
                  <a:lnTo>
                    <a:pt x="47" y="27"/>
                  </a:lnTo>
                  <a:lnTo>
                    <a:pt x="76" y="28"/>
                  </a:lnTo>
                  <a:lnTo>
                    <a:pt x="53" y="45"/>
                  </a:lnTo>
                  <a:lnTo>
                    <a:pt x="61" y="72"/>
                  </a:lnTo>
                  <a:lnTo>
                    <a:pt x="38" y="56"/>
                  </a:lnTo>
                  <a:lnTo>
                    <a:pt x="15" y="72"/>
                  </a:lnTo>
                  <a:lnTo>
                    <a:pt x="23" y="45"/>
                  </a:lnTo>
                  <a:lnTo>
                    <a:pt x="0" y="28"/>
                  </a:lnTo>
                  <a:lnTo>
                    <a:pt x="29" y="27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69" name="Freeform 31">
              <a:extLst>
                <a:ext uri="{FF2B5EF4-FFF2-40B4-BE49-F238E27FC236}">
                  <a16:creationId xmlns:a16="http://schemas.microsoft.com/office/drawing/2014/main" id="{F76E809D-BC79-4296-B4BF-EAE192EDCF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98" y="3945"/>
              <a:ext cx="71" cy="68"/>
            </a:xfrm>
            <a:custGeom>
              <a:avLst/>
              <a:gdLst>
                <a:gd name="T0" fmla="*/ 59 w 118"/>
                <a:gd name="T1" fmla="*/ 0 h 112"/>
                <a:gd name="T2" fmla="*/ 59 w 118"/>
                <a:gd name="T3" fmla="*/ 0 h 112"/>
                <a:gd name="T4" fmla="*/ 73 w 118"/>
                <a:gd name="T5" fmla="*/ 42 h 112"/>
                <a:gd name="T6" fmla="*/ 118 w 118"/>
                <a:gd name="T7" fmla="*/ 43 h 112"/>
                <a:gd name="T8" fmla="*/ 82 w 118"/>
                <a:gd name="T9" fmla="*/ 69 h 112"/>
                <a:gd name="T10" fmla="*/ 95 w 118"/>
                <a:gd name="T11" fmla="*/ 112 h 112"/>
                <a:gd name="T12" fmla="*/ 59 w 118"/>
                <a:gd name="T13" fmla="*/ 86 h 112"/>
                <a:gd name="T14" fmla="*/ 23 w 118"/>
                <a:gd name="T15" fmla="*/ 112 h 112"/>
                <a:gd name="T16" fmla="*/ 36 w 118"/>
                <a:gd name="T17" fmla="*/ 69 h 112"/>
                <a:gd name="T18" fmla="*/ 0 w 118"/>
                <a:gd name="T19" fmla="*/ 43 h 112"/>
                <a:gd name="T20" fmla="*/ 44 w 118"/>
                <a:gd name="T21" fmla="*/ 42 h 112"/>
                <a:gd name="T22" fmla="*/ 59 w 118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12">
                  <a:moveTo>
                    <a:pt x="59" y="0"/>
                  </a:moveTo>
                  <a:lnTo>
                    <a:pt x="59" y="0"/>
                  </a:lnTo>
                  <a:lnTo>
                    <a:pt x="73" y="42"/>
                  </a:lnTo>
                  <a:lnTo>
                    <a:pt x="118" y="43"/>
                  </a:lnTo>
                  <a:lnTo>
                    <a:pt x="82" y="69"/>
                  </a:lnTo>
                  <a:lnTo>
                    <a:pt x="95" y="112"/>
                  </a:lnTo>
                  <a:lnTo>
                    <a:pt x="59" y="86"/>
                  </a:lnTo>
                  <a:lnTo>
                    <a:pt x="23" y="112"/>
                  </a:lnTo>
                  <a:lnTo>
                    <a:pt x="36" y="69"/>
                  </a:lnTo>
                  <a:lnTo>
                    <a:pt x="0" y="43"/>
                  </a:lnTo>
                  <a:lnTo>
                    <a:pt x="44" y="42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0" name="Freeform 32">
              <a:extLst>
                <a:ext uri="{FF2B5EF4-FFF2-40B4-BE49-F238E27FC236}">
                  <a16:creationId xmlns:a16="http://schemas.microsoft.com/office/drawing/2014/main" id="{0462B7BC-468D-4BDB-89BE-3BBFC284D7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07" y="4114"/>
              <a:ext cx="34" cy="33"/>
            </a:xfrm>
            <a:custGeom>
              <a:avLst/>
              <a:gdLst>
                <a:gd name="T0" fmla="*/ 28 w 57"/>
                <a:gd name="T1" fmla="*/ 0 h 55"/>
                <a:gd name="T2" fmla="*/ 28 w 57"/>
                <a:gd name="T3" fmla="*/ 0 h 55"/>
                <a:gd name="T4" fmla="*/ 35 w 57"/>
                <a:gd name="T5" fmla="*/ 20 h 55"/>
                <a:gd name="T6" fmla="*/ 57 w 57"/>
                <a:gd name="T7" fmla="*/ 21 h 55"/>
                <a:gd name="T8" fmla="*/ 40 w 57"/>
                <a:gd name="T9" fmla="*/ 34 h 55"/>
                <a:gd name="T10" fmla="*/ 46 w 57"/>
                <a:gd name="T11" fmla="*/ 55 h 55"/>
                <a:gd name="T12" fmla="*/ 28 w 57"/>
                <a:gd name="T13" fmla="*/ 42 h 55"/>
                <a:gd name="T14" fmla="*/ 11 w 57"/>
                <a:gd name="T15" fmla="*/ 55 h 55"/>
                <a:gd name="T16" fmla="*/ 17 w 57"/>
                <a:gd name="T17" fmla="*/ 34 h 55"/>
                <a:gd name="T18" fmla="*/ 0 w 57"/>
                <a:gd name="T19" fmla="*/ 21 h 55"/>
                <a:gd name="T20" fmla="*/ 21 w 57"/>
                <a:gd name="T21" fmla="*/ 20 h 55"/>
                <a:gd name="T22" fmla="*/ 28 w 57"/>
                <a:gd name="T2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55">
                  <a:moveTo>
                    <a:pt x="28" y="0"/>
                  </a:moveTo>
                  <a:lnTo>
                    <a:pt x="28" y="0"/>
                  </a:lnTo>
                  <a:lnTo>
                    <a:pt x="35" y="20"/>
                  </a:lnTo>
                  <a:lnTo>
                    <a:pt x="57" y="21"/>
                  </a:lnTo>
                  <a:lnTo>
                    <a:pt x="40" y="34"/>
                  </a:lnTo>
                  <a:lnTo>
                    <a:pt x="46" y="55"/>
                  </a:lnTo>
                  <a:lnTo>
                    <a:pt x="28" y="42"/>
                  </a:lnTo>
                  <a:lnTo>
                    <a:pt x="11" y="55"/>
                  </a:lnTo>
                  <a:lnTo>
                    <a:pt x="17" y="34"/>
                  </a:lnTo>
                  <a:lnTo>
                    <a:pt x="0" y="21"/>
                  </a:lnTo>
                  <a:lnTo>
                    <a:pt x="21" y="2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1" name="Freeform 33">
              <a:extLst>
                <a:ext uri="{FF2B5EF4-FFF2-40B4-BE49-F238E27FC236}">
                  <a16:creationId xmlns:a16="http://schemas.microsoft.com/office/drawing/2014/main" id="{25C8CC05-DE8C-422B-8A9D-7E4A832A97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9" y="4024"/>
              <a:ext cx="145" cy="139"/>
            </a:xfrm>
            <a:custGeom>
              <a:avLst/>
              <a:gdLst>
                <a:gd name="T0" fmla="*/ 121 w 242"/>
                <a:gd name="T1" fmla="*/ 0 h 230"/>
                <a:gd name="T2" fmla="*/ 121 w 242"/>
                <a:gd name="T3" fmla="*/ 0 h 230"/>
                <a:gd name="T4" fmla="*/ 151 w 242"/>
                <a:gd name="T5" fmla="*/ 86 h 230"/>
                <a:gd name="T6" fmla="*/ 242 w 242"/>
                <a:gd name="T7" fmla="*/ 88 h 230"/>
                <a:gd name="T8" fmla="*/ 169 w 242"/>
                <a:gd name="T9" fmla="*/ 143 h 230"/>
                <a:gd name="T10" fmla="*/ 196 w 242"/>
                <a:gd name="T11" fmla="*/ 230 h 230"/>
                <a:gd name="T12" fmla="*/ 121 w 242"/>
                <a:gd name="T13" fmla="*/ 178 h 230"/>
                <a:gd name="T14" fmla="*/ 46 w 242"/>
                <a:gd name="T15" fmla="*/ 230 h 230"/>
                <a:gd name="T16" fmla="*/ 73 w 242"/>
                <a:gd name="T17" fmla="*/ 143 h 230"/>
                <a:gd name="T18" fmla="*/ 0 w 242"/>
                <a:gd name="T19" fmla="*/ 88 h 230"/>
                <a:gd name="T20" fmla="*/ 91 w 242"/>
                <a:gd name="T21" fmla="*/ 86 h 230"/>
                <a:gd name="T22" fmla="*/ 121 w 242"/>
                <a:gd name="T23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230">
                  <a:moveTo>
                    <a:pt x="121" y="0"/>
                  </a:moveTo>
                  <a:lnTo>
                    <a:pt x="121" y="0"/>
                  </a:lnTo>
                  <a:lnTo>
                    <a:pt x="151" y="86"/>
                  </a:lnTo>
                  <a:lnTo>
                    <a:pt x="242" y="88"/>
                  </a:lnTo>
                  <a:lnTo>
                    <a:pt x="169" y="143"/>
                  </a:lnTo>
                  <a:lnTo>
                    <a:pt x="196" y="230"/>
                  </a:lnTo>
                  <a:lnTo>
                    <a:pt x="121" y="178"/>
                  </a:lnTo>
                  <a:lnTo>
                    <a:pt x="46" y="230"/>
                  </a:lnTo>
                  <a:lnTo>
                    <a:pt x="73" y="143"/>
                  </a:lnTo>
                  <a:lnTo>
                    <a:pt x="0" y="88"/>
                  </a:lnTo>
                  <a:lnTo>
                    <a:pt x="91" y="86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  <p:sp>
          <p:nvSpPr>
            <p:cNvPr id="72" name="Freeform 34">
              <a:extLst>
                <a:ext uri="{FF2B5EF4-FFF2-40B4-BE49-F238E27FC236}">
                  <a16:creationId xmlns:a16="http://schemas.microsoft.com/office/drawing/2014/main" id="{F7AAE236-FF45-43FD-AC9E-870465E474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68" y="4049"/>
              <a:ext cx="40" cy="39"/>
            </a:xfrm>
            <a:custGeom>
              <a:avLst/>
              <a:gdLst>
                <a:gd name="T0" fmla="*/ 34 w 67"/>
                <a:gd name="T1" fmla="*/ 0 h 63"/>
                <a:gd name="T2" fmla="*/ 34 w 67"/>
                <a:gd name="T3" fmla="*/ 0 h 63"/>
                <a:gd name="T4" fmla="*/ 42 w 67"/>
                <a:gd name="T5" fmla="*/ 23 h 63"/>
                <a:gd name="T6" fmla="*/ 67 w 67"/>
                <a:gd name="T7" fmla="*/ 24 h 63"/>
                <a:gd name="T8" fmla="*/ 47 w 67"/>
                <a:gd name="T9" fmla="*/ 39 h 63"/>
                <a:gd name="T10" fmla="*/ 54 w 67"/>
                <a:gd name="T11" fmla="*/ 63 h 63"/>
                <a:gd name="T12" fmla="*/ 34 w 67"/>
                <a:gd name="T13" fmla="*/ 49 h 63"/>
                <a:gd name="T14" fmla="*/ 13 w 67"/>
                <a:gd name="T15" fmla="*/ 63 h 63"/>
                <a:gd name="T16" fmla="*/ 20 w 67"/>
                <a:gd name="T17" fmla="*/ 39 h 63"/>
                <a:gd name="T18" fmla="*/ 0 w 67"/>
                <a:gd name="T19" fmla="*/ 24 h 63"/>
                <a:gd name="T20" fmla="*/ 25 w 67"/>
                <a:gd name="T21" fmla="*/ 23 h 63"/>
                <a:gd name="T22" fmla="*/ 34 w 67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63">
                  <a:moveTo>
                    <a:pt x="34" y="0"/>
                  </a:moveTo>
                  <a:lnTo>
                    <a:pt x="34" y="0"/>
                  </a:lnTo>
                  <a:lnTo>
                    <a:pt x="42" y="23"/>
                  </a:lnTo>
                  <a:lnTo>
                    <a:pt x="67" y="24"/>
                  </a:lnTo>
                  <a:lnTo>
                    <a:pt x="47" y="39"/>
                  </a:lnTo>
                  <a:lnTo>
                    <a:pt x="54" y="63"/>
                  </a:lnTo>
                  <a:lnTo>
                    <a:pt x="34" y="49"/>
                  </a:lnTo>
                  <a:lnTo>
                    <a:pt x="13" y="63"/>
                  </a:lnTo>
                  <a:lnTo>
                    <a:pt x="20" y="39"/>
                  </a:lnTo>
                  <a:lnTo>
                    <a:pt x="0" y="24"/>
                  </a:lnTo>
                  <a:lnTo>
                    <a:pt x="25" y="2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450"/>
            </a:p>
          </p:txBody>
        </p:sp>
      </p:grpSp>
    </p:spTree>
    <p:extLst>
      <p:ext uri="{BB962C8B-B14F-4D97-AF65-F5344CB8AC3E}">
        <p14:creationId xmlns:p14="http://schemas.microsoft.com/office/powerpoint/2010/main" val="346790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Date Placeholder 35">
            <a:extLst>
              <a:ext uri="{FF2B5EF4-FFF2-40B4-BE49-F238E27FC236}">
                <a16:creationId xmlns:a16="http://schemas.microsoft.com/office/drawing/2014/main" id="{D6515BFE-A2D2-4E56-8EA9-BC97BCEE1B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9E68B0-6BBE-42B0-A9B6-779C36B17C4D}" type="datetime1">
              <a:rPr lang="en-GB" smtClean="0"/>
              <a:t>23/12/2021</a:t>
            </a:fld>
            <a:endParaRPr lang="en-GB"/>
          </a:p>
        </p:txBody>
      </p:sp>
      <p:sp>
        <p:nvSpPr>
          <p:cNvPr id="37" name="Footer Placeholder 36">
            <a:extLst>
              <a:ext uri="{FF2B5EF4-FFF2-40B4-BE49-F238E27FC236}">
                <a16:creationId xmlns:a16="http://schemas.microsoft.com/office/drawing/2014/main" id="{BD9CAC1C-6371-4ACB-8F95-B78B10D054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Slide Number Placeholder 37">
            <a:extLst>
              <a:ext uri="{FF2B5EF4-FFF2-40B4-BE49-F238E27FC236}">
                <a16:creationId xmlns:a16="http://schemas.microsoft.com/office/drawing/2014/main" id="{A584F3D8-3E45-41B9-BBC6-13C75591C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709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 rot="5400000">
            <a:off x="2666997" y="-2666998"/>
            <a:ext cx="6858003" cy="12192001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89000"/>
                </a:srgbClr>
              </a:gs>
              <a:gs pos="100000">
                <a:schemeClr val="bg1">
                  <a:alpha val="0"/>
                </a:schemeClr>
              </a:gs>
              <a:gs pos="62000">
                <a:srgbClr val="FFFFFF">
                  <a:alpha val="65000"/>
                </a:srgbClr>
              </a:gs>
            </a:gsLst>
            <a:lin ang="1878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ucida Sans Unicod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0001" y="480001"/>
            <a:ext cx="11092340" cy="4708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98855" y="864000"/>
            <a:ext cx="10241039" cy="38769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133">
                <a:solidFill>
                  <a:schemeClr val="tx1"/>
                </a:solidFill>
              </a:defRPr>
            </a:lvl1pPr>
            <a:lvl2pPr marL="431789" indent="0">
              <a:buNone/>
              <a:defRPr/>
            </a:lvl2pPr>
            <a:lvl3pPr marL="863578" indent="0">
              <a:buNone/>
              <a:defRPr/>
            </a:lvl3pPr>
            <a:lvl4pPr marL="1295368" indent="0">
              <a:buNone/>
              <a:defRPr/>
            </a:lvl4pPr>
            <a:lvl5pPr marL="1727157" indent="0">
              <a:buNone/>
              <a:defRPr/>
            </a:lvl5pPr>
          </a:lstStyle>
          <a:p>
            <a:pPr lvl="0"/>
            <a:r>
              <a:rPr lang="nl-NL"/>
              <a:t>CLICK TO EDIT MASTER TEXT STYLES</a:t>
            </a:r>
          </a:p>
        </p:txBody>
      </p:sp>
      <p:sp>
        <p:nvSpPr>
          <p:cNvPr id="6" name="Rounded Rectangle 5"/>
          <p:cNvSpPr/>
          <p:nvPr userDrawn="1"/>
        </p:nvSpPr>
        <p:spPr bwMode="auto">
          <a:xfrm rot="2700000">
            <a:off x="9666816" y="5635713"/>
            <a:ext cx="1920000" cy="1920000"/>
          </a:xfrm>
          <a:prstGeom prst="roundRect">
            <a:avLst>
              <a:gd name="adj" fmla="val 7453"/>
            </a:avLst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10000"/>
              </a:prst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Lucida Sans Unicode" pitchFamily="34" charset="0"/>
            </a:endParaRPr>
          </a:p>
        </p:txBody>
      </p:sp>
      <p:pic>
        <p:nvPicPr>
          <p:cNvPr id="7" name="Picture 6" descr="HEINEKEN_HGP_Conference_Logo_RGB_FX_300dpi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5380" y="5576823"/>
            <a:ext cx="696649" cy="115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716581"/>
      </p:ext>
    </p:extLst>
  </p:cSld>
  <p:clrMapOvr>
    <a:masterClrMapping/>
  </p:clrMapOvr>
  <p:hf hdr="0" ft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4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727" b="1" i="0" baseline="0"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rgbClr val="38572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97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900000" y="2261885"/>
            <a:ext cx="5400000" cy="516232"/>
          </a:xfrm>
        </p:spPr>
        <p:txBody>
          <a:bodyPr anchor="ctr" anchorCtr="0"/>
          <a:lstStyle>
            <a:lvl1pPr algn="l">
              <a:defRPr sz="3727" b="1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0000" y="2880001"/>
            <a:ext cx="6480000" cy="720000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2982" b="0">
                <a:solidFill>
                  <a:schemeClr val="bg1"/>
                </a:solidFill>
              </a:defRPr>
            </a:lvl1pPr>
            <a:lvl2pPr marL="425929" indent="0" algn="ctr">
              <a:buNone/>
              <a:defRPr sz="1863"/>
            </a:lvl2pPr>
            <a:lvl3pPr marL="851859" indent="0" algn="ctr">
              <a:buNone/>
              <a:defRPr sz="1677"/>
            </a:lvl3pPr>
            <a:lvl4pPr marL="1277788" indent="0" algn="ctr">
              <a:buNone/>
              <a:defRPr sz="1491"/>
            </a:lvl4pPr>
            <a:lvl5pPr marL="1703717" indent="0" algn="ctr">
              <a:buNone/>
              <a:defRPr sz="1491"/>
            </a:lvl5pPr>
            <a:lvl6pPr marL="2129646" indent="0" algn="ctr">
              <a:buNone/>
              <a:defRPr sz="1491"/>
            </a:lvl6pPr>
            <a:lvl7pPr marL="2555576" indent="0" algn="ctr">
              <a:buNone/>
              <a:defRPr sz="1491"/>
            </a:lvl7pPr>
            <a:lvl8pPr marL="2981504" indent="0" algn="ctr">
              <a:buNone/>
              <a:defRPr sz="1491"/>
            </a:lvl8pPr>
            <a:lvl9pPr marL="3407433" indent="0" algn="ctr">
              <a:buNone/>
              <a:defRPr sz="1491"/>
            </a:lvl9pPr>
          </a:lstStyle>
          <a:p>
            <a:r>
              <a:rPr lang="en-GB" noProof="0"/>
              <a:t>Click to add  subtitle</a:t>
            </a:r>
          </a:p>
        </p:txBody>
      </p:sp>
      <p:sp>
        <p:nvSpPr>
          <p:cNvPr id="9" name="Picture Placeholder 17"/>
          <p:cNvSpPr>
            <a:spLocks noGrp="1"/>
          </p:cNvSpPr>
          <p:nvPr>
            <p:ph type="pic" sz="quarter" idx="18" hasCustomPrompt="1"/>
          </p:nvPr>
        </p:nvSpPr>
        <p:spPr>
          <a:xfrm>
            <a:off x="6792000" y="0"/>
            <a:ext cx="5400001" cy="6858000"/>
          </a:xfrm>
          <a:custGeom>
            <a:avLst/>
            <a:gdLst>
              <a:gd name="connsiteX0" fmla="*/ 1 w 5400001"/>
              <a:gd name="connsiteY0" fmla="*/ 0 h 6858000"/>
              <a:gd name="connsiteX1" fmla="*/ 5400001 w 5400001"/>
              <a:gd name="connsiteY1" fmla="*/ 0 h 6858000"/>
              <a:gd name="connsiteX2" fmla="*/ 5400001 w 5400001"/>
              <a:gd name="connsiteY2" fmla="*/ 6858000 h 6858000"/>
              <a:gd name="connsiteX3" fmla="*/ 1 w 5400001"/>
              <a:gd name="connsiteY3" fmla="*/ 6858000 h 6858000"/>
              <a:gd name="connsiteX4" fmla="*/ 1 w 5400001"/>
              <a:gd name="connsiteY4" fmla="*/ 6857998 h 6858000"/>
              <a:gd name="connsiteX5" fmla="*/ 1440000 w 5400001"/>
              <a:gd name="connsiteY5" fmla="*/ 3429000 h 6858000"/>
              <a:gd name="connsiteX6" fmla="*/ 1 w 5400001"/>
              <a:gd name="connsiteY6" fmla="*/ 2 h 6858000"/>
              <a:gd name="connsiteX7" fmla="*/ 0 w 5400001"/>
              <a:gd name="connsiteY7" fmla="*/ 0 h 6858000"/>
              <a:gd name="connsiteX8" fmla="*/ 1 w 5400001"/>
              <a:gd name="connsiteY8" fmla="*/ 2 h 6858000"/>
              <a:gd name="connsiteX9" fmla="*/ 1 w 5400001"/>
              <a:gd name="connsiteY9" fmla="*/ 6857998 h 6858000"/>
              <a:gd name="connsiteX10" fmla="*/ 0 w 5400001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00001" h="6858000">
                <a:moveTo>
                  <a:pt x="1" y="0"/>
                </a:moveTo>
                <a:lnTo>
                  <a:pt x="5400001" y="0"/>
                </a:lnTo>
                <a:lnTo>
                  <a:pt x="5400001" y="6858000"/>
                </a:lnTo>
                <a:lnTo>
                  <a:pt x="1" y="6858000"/>
                </a:lnTo>
                <a:lnTo>
                  <a:pt x="1" y="6857998"/>
                </a:lnTo>
                <a:lnTo>
                  <a:pt x="1440000" y="3429000"/>
                </a:lnTo>
                <a:lnTo>
                  <a:pt x="1" y="2"/>
                </a:lnTo>
                <a:close/>
                <a:moveTo>
                  <a:pt x="0" y="0"/>
                </a:moveTo>
                <a:lnTo>
                  <a:pt x="1" y="2"/>
                </a:lnTo>
                <a:lnTo>
                  <a:pt x="1" y="6857998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83961" indent="0" algn="ctr">
              <a:buNone/>
              <a:defRPr baseline="0">
                <a:solidFill>
                  <a:srgbClr val="385723"/>
                </a:solidFill>
              </a:defRPr>
            </a:lvl1pPr>
          </a:lstStyle>
          <a:p>
            <a:r>
              <a:rPr lang="en-GB" noProof="0"/>
              <a:t>Click to add pictur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791999" y="1"/>
            <a:ext cx="1440001" cy="342900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6792001" y="3429000"/>
            <a:ext cx="1439999" cy="3428998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875141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51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Lucida Sans Unicode" pitchFamily="34" charset="0"/>
              <a:ea typeface="+mj-ea"/>
              <a:cs typeface="+mj-cs"/>
              <a:sym typeface="Lucida Sans Unicode" panose="020B0602030504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31980" y="388686"/>
            <a:ext cx="11144084" cy="700339"/>
          </a:xfrm>
          <a:prstGeom prst="rect">
            <a:avLst/>
          </a:prstGeom>
        </p:spPr>
        <p:txBody>
          <a:bodyPr lIns="0" rIns="0"/>
          <a:lstStyle>
            <a:lvl1pPr>
              <a:defRPr b="1">
                <a:solidFill>
                  <a:srgbClr val="005000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09226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54810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5198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617587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image" Target="../media/image2.png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6" Type="http://schemas.openxmlformats.org/officeDocument/2006/relationships/theme" Target="../theme/theme2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9" Type="http://schemas.openxmlformats.org/officeDocument/2006/relationships/image" Target="../media/image3.emf"/><Relationship Id="rId21" Type="http://schemas.openxmlformats.org/officeDocument/2006/relationships/tags" Target="../tags/tag122.xml"/><Relationship Id="rId34" Type="http://schemas.openxmlformats.org/officeDocument/2006/relationships/tags" Target="../tags/tag135.xml"/><Relationship Id="rId42" Type="http://schemas.microsoft.com/office/2007/relationships/hdphoto" Target="../media/hdphoto1.wdp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tags" Target="../tags/tag130.xml"/><Relationship Id="rId41" Type="http://schemas.openxmlformats.org/officeDocument/2006/relationships/image" Target="../media/image9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image" Target="../media/image8.png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3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120.xml"/><Relationship Id="rId31" Type="http://schemas.openxmlformats.org/officeDocument/2006/relationships/tags" Target="../tags/tag13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oleObject" Target="../embeddings/oleObject1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Восьмиугольник 6">
            <a:extLst>
              <a:ext uri="{FF2B5EF4-FFF2-40B4-BE49-F238E27FC236}">
                <a16:creationId xmlns:a16="http://schemas.microsoft.com/office/drawing/2014/main" id="{12B87281-2FCA-44C5-BFC9-FD653787EFC4}"/>
              </a:ext>
            </a:extLst>
          </p:cNvPr>
          <p:cNvSpPr/>
          <p:nvPr userDrawn="1"/>
        </p:nvSpPr>
        <p:spPr>
          <a:xfrm rot="1361022">
            <a:off x="11394972" y="6053793"/>
            <a:ext cx="634795" cy="634795"/>
          </a:xfrm>
          <a:prstGeom prst="octagon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2000"/>
            <a:ext cx="11340000" cy="43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ru-RU" noProof="0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152000"/>
            <a:ext cx="11340000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ru-RU" noProof="0" dirty="0"/>
              <a:t>Образец текста</a:t>
            </a:r>
          </a:p>
          <a:p>
            <a:pPr lvl="1" rtl="0"/>
            <a:r>
              <a:rPr lang="ru-RU" noProof="0" dirty="0"/>
              <a:t>Второй уровень</a:t>
            </a:r>
          </a:p>
          <a:p>
            <a:pPr lvl="2" rtl="0"/>
            <a:r>
              <a:rPr lang="ru-RU" noProof="0" dirty="0"/>
              <a:t>Третий уровень</a:t>
            </a:r>
          </a:p>
          <a:p>
            <a:pPr lvl="3" rtl="0"/>
            <a:r>
              <a:rPr lang="ru-RU" noProof="0" dirty="0"/>
              <a:t>Четвертый уровень</a:t>
            </a:r>
          </a:p>
          <a:p>
            <a:pPr lvl="4" rtl="0"/>
            <a:r>
              <a:rPr lang="ru-RU" noProof="0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188628"/>
            <a:ext cx="878494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rtl="0"/>
            <a:r>
              <a:rPr lang="ru-RU" noProof="0" dirty="0"/>
              <a:t>Добавить нижний колонтитул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369" y="6155190"/>
            <a:ext cx="432000" cy="432000"/>
          </a:xfrm>
          <a:prstGeom prst="ellipse">
            <a:avLst/>
          </a:prstGeom>
          <a:noFill/>
          <a:ln w="3175">
            <a:solidFill>
              <a:schemeClr val="accent1"/>
            </a:solidFill>
          </a:ln>
        </p:spPr>
        <p:txBody>
          <a:bodyPr vert="horz" lIns="0" tIns="0" rIns="0" bIns="0" rtlCol="0" anchor="ctr"/>
          <a:lstStyle>
            <a:lvl1pPr algn="ctr">
              <a:defRPr sz="1200" b="1" i="1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fld id="{19B51A1E-902D-48AF-9020-955120F399B6}" type="slidenum">
              <a:rPr lang="ru-RU" noProof="0" smtClean="0"/>
              <a:pPr/>
              <a:t>‹#›</a:t>
            </a:fld>
            <a:endParaRPr lang="ru-RU" noProof="0" dirty="0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B66BF03E-F48E-4C0A-9078-07AC4DDF896A}"/>
              </a:ext>
            </a:extLst>
          </p:cNvPr>
          <p:cNvSpPr/>
          <p:nvPr userDrawn="1"/>
        </p:nvSpPr>
        <p:spPr>
          <a:xfrm>
            <a:off x="11533871" y="6185902"/>
            <a:ext cx="73515" cy="73515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>
              <a:solidFill>
                <a:schemeClr val="accent1"/>
              </a:solidFill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9F827500-FC74-463C-9312-BC59104AEBD6}"/>
              </a:ext>
            </a:extLst>
          </p:cNvPr>
          <p:cNvSpPr/>
          <p:nvPr userDrawn="1"/>
        </p:nvSpPr>
        <p:spPr>
          <a:xfrm>
            <a:off x="11892084" y="6561525"/>
            <a:ext cx="100439" cy="100439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1" name="Надпись 10">
            <a:extLst>
              <a:ext uri="{FF2B5EF4-FFF2-40B4-BE49-F238E27FC236}">
                <a16:creationId xmlns:a16="http://schemas.microsoft.com/office/drawing/2014/main" id="{110EE18F-610D-4230-BA82-4E5007401ADD}"/>
              </a:ext>
            </a:extLst>
          </p:cNvPr>
          <p:cNvSpPr txBox="1"/>
          <p:nvPr userDrawn="1"/>
        </p:nvSpPr>
        <p:spPr>
          <a:xfrm>
            <a:off x="8734570" y="6278857"/>
            <a:ext cx="2510557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rtl="0"/>
            <a:r>
              <a:rPr lang="ru-RU" sz="1200" noProof="0" dirty="0">
                <a:solidFill>
                  <a:schemeClr val="tx2"/>
                </a:solidFill>
                <a:latin typeface="+mj-lt"/>
              </a:rPr>
              <a:t>Ваш логотип или название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AF375EA-F235-4EAA-A52F-D6BF0D6EDDCA}"/>
              </a:ext>
            </a:extLst>
          </p:cNvPr>
          <p:cNvSpPr/>
          <p:nvPr userDrawn="1"/>
        </p:nvSpPr>
        <p:spPr>
          <a:xfrm>
            <a:off x="11342875" y="5990144"/>
            <a:ext cx="260512" cy="260512"/>
          </a:xfrm>
          <a:prstGeom prst="ellipse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>
              <a:solidFill>
                <a:schemeClr val="accent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E3C8C5B-6356-4B7C-887C-A436D7DB4059}"/>
              </a:ext>
            </a:extLst>
          </p:cNvPr>
          <p:cNvSpPr/>
          <p:nvPr userDrawn="1"/>
        </p:nvSpPr>
        <p:spPr>
          <a:xfrm>
            <a:off x="0" y="6771286"/>
            <a:ext cx="12192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3120C00-0FF6-411F-B2D6-C625ED6BD241}"/>
              </a:ext>
            </a:extLst>
          </p:cNvPr>
          <p:cNvSpPr/>
          <p:nvPr userDrawn="1"/>
        </p:nvSpPr>
        <p:spPr>
          <a:xfrm>
            <a:off x="0" y="0"/>
            <a:ext cx="12192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2D142C1D-78E5-4AD5-BEF3-C015D6E3FEBD}"/>
              </a:ext>
            </a:extLst>
          </p:cNvPr>
          <p:cNvSpPr/>
          <p:nvPr userDrawn="1"/>
        </p:nvSpPr>
        <p:spPr>
          <a:xfrm rot="5400000">
            <a:off x="-3385643" y="3385642"/>
            <a:ext cx="6858001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300D9306-2240-47FF-AA2F-DC7C26A008A4}"/>
              </a:ext>
            </a:extLst>
          </p:cNvPr>
          <p:cNvSpPr/>
          <p:nvPr userDrawn="1"/>
        </p:nvSpPr>
        <p:spPr>
          <a:xfrm rot="5400000">
            <a:off x="8719643" y="3385643"/>
            <a:ext cx="6858000" cy="86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  <p:sldLayoutId id="2147483650" r:id="rId4"/>
    <p:sldLayoutId id="2147483652" r:id="rId5"/>
    <p:sldLayoutId id="2147483656" r:id="rId6"/>
    <p:sldLayoutId id="2147483657" r:id="rId7"/>
    <p:sldLayoutId id="2147483668" r:id="rId8"/>
    <p:sldLayoutId id="2147483670" r:id="rId9"/>
    <p:sldLayoutId id="2147483653" r:id="rId10"/>
    <p:sldLayoutId id="2147483673" r:id="rId11"/>
    <p:sldLayoutId id="2147483674" r:id="rId12"/>
    <p:sldLayoutId id="2147483676" r:id="rId13"/>
    <p:sldLayoutId id="2147483677" r:id="rId14"/>
    <p:sldLayoutId id="2147483654" r:id="rId15"/>
    <p:sldLayoutId id="2147483660" r:id="rId16"/>
    <p:sldLayoutId id="2147483661" r:id="rId17"/>
    <p:sldLayoutId id="2147483678" r:id="rId18"/>
    <p:sldLayoutId id="2147483717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2925" indent="-2762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096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763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43025" indent="-2667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9829"/>
            <a:ext cx="39433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Above Chart Exhibit Title</a:t>
            </a:r>
          </a:p>
          <a:p>
            <a:pPr lvl="0"/>
            <a:r>
              <a:rPr lang="en-GB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54736" y="2170800"/>
            <a:ext cx="2769662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9F039AC1-56A9-4752-98E6-CF6DE1F7BEB5}"/>
              </a:ext>
            </a:extLst>
          </p:cNvPr>
          <p:cNvGrpSpPr/>
          <p:nvPr userDrawn="1"/>
        </p:nvGrpSpPr>
        <p:grpSpPr>
          <a:xfrm>
            <a:off x="10317304" y="3150223"/>
            <a:ext cx="1273474" cy="958286"/>
            <a:chOff x="10162879" y="3243772"/>
            <a:chExt cx="1273474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DD274EB-2F2A-4962-AE22-668D2A210B16}"/>
                </a:ext>
              </a:extLst>
            </p:cNvPr>
            <p:cNvSpPr txBox="1"/>
            <p:nvPr/>
          </p:nvSpPr>
          <p:spPr>
            <a:xfrm>
              <a:off x="10886522" y="324377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28D0A87B-45F7-4085-AEC9-5B2535601DF0}"/>
                </a:ext>
              </a:extLst>
            </p:cNvPr>
            <p:cNvSpPr txBox="1"/>
            <p:nvPr/>
          </p:nvSpPr>
          <p:spPr>
            <a:xfrm>
              <a:off x="10886522" y="3615193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340B9B6E-DDEB-4C20-ADBE-23A6DDB44335}"/>
                </a:ext>
              </a:extLst>
            </p:cNvPr>
            <p:cNvSpPr txBox="1"/>
            <p:nvPr/>
          </p:nvSpPr>
          <p:spPr>
            <a:xfrm>
              <a:off x="10886522" y="398661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68FAC4-AF56-4E03-BD82-AF47CD81A8C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61CE115E-955E-457A-AE2E-22A7A2EAE6F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E438EDC9-01DE-4D71-8B74-6D68CAE49A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15137132-ED4B-4867-8957-24C0E986E953}"/>
              </a:ext>
            </a:extLst>
          </p:cNvPr>
          <p:cNvGrpSpPr/>
          <p:nvPr userDrawn="1"/>
        </p:nvGrpSpPr>
        <p:grpSpPr>
          <a:xfrm>
            <a:off x="10688315" y="1145373"/>
            <a:ext cx="902463" cy="1731859"/>
            <a:chOff x="7723680" y="1702457"/>
            <a:chExt cx="902463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3584F38-0358-4FC1-B87D-90F67002F849}"/>
                </a:ext>
              </a:extLst>
            </p:cNvPr>
            <p:cNvSpPr txBox="1"/>
            <p:nvPr/>
          </p:nvSpPr>
          <p:spPr>
            <a:xfrm>
              <a:off x="8076312" y="1709816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DE586444-F6C0-4C18-BBC5-E9468D62619F}"/>
                </a:ext>
              </a:extLst>
            </p:cNvPr>
            <p:cNvSpPr txBox="1"/>
            <p:nvPr/>
          </p:nvSpPr>
          <p:spPr>
            <a:xfrm>
              <a:off x="8076312" y="2085275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B102E38F-55DD-4E8E-B971-E87F45841FF8}"/>
                </a:ext>
              </a:extLst>
            </p:cNvPr>
            <p:cNvSpPr txBox="1"/>
            <p:nvPr/>
          </p:nvSpPr>
          <p:spPr>
            <a:xfrm>
              <a:off x="8076312" y="246073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1446C037-674E-424F-ADE2-D4695E632F8C}"/>
                </a:ext>
              </a:extLst>
            </p:cNvPr>
            <p:cNvSpPr txBox="1"/>
            <p:nvPr/>
          </p:nvSpPr>
          <p:spPr>
            <a:xfrm>
              <a:off x="8076312" y="2836193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7FAE878-BAEA-4E19-BB51-A0564F671BBE}"/>
                </a:ext>
              </a:extLst>
            </p:cNvPr>
            <p:cNvSpPr txBox="1"/>
            <p:nvPr/>
          </p:nvSpPr>
          <p:spPr>
            <a:xfrm>
              <a:off x="8076312" y="321165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E2A2A91B-C2ED-4638-8B27-9334BF57389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EE1A26C0-35D6-4BFE-A8AA-69A44DF3A8BC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41EE2985-B32D-4006-953F-3D0B126E874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90071E4B-34F5-4862-8888-1F3AB6665DB7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C726BB31-88A0-433B-BAF5-D3D1418F3B8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57F0564B-58EB-45D2-9246-FB8D9745A9A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56C51B3B-E4A2-4BB3-BCA2-267EDEF1E41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6D2B86D6-0BA7-4201-9D0D-16D386BD8AC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6288512-66D0-46B0-83C4-1DDA03B7379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67ECED74-EC96-4A1E-AD93-F2C7799AC46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1BDD5246-E52F-4212-B0E1-C7ACD197BB66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CD0D0AD1-52CF-4EF5-A0F2-9B650767F91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D6F414F9-B4E5-4D13-88EA-0FACC4C5782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0779873-FBEF-4F26-917A-09E64030568E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B0C13CC8-7655-4C22-BC36-98C54EC496B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D77E1C2E-9FDE-4A73-86C3-ECE8BDE52EC0}"/>
              </a:ext>
            </a:extLst>
          </p:cNvPr>
          <p:cNvGrpSpPr/>
          <p:nvPr userDrawn="1"/>
        </p:nvGrpSpPr>
        <p:grpSpPr>
          <a:xfrm>
            <a:off x="10714801" y="4381500"/>
            <a:ext cx="875977" cy="1717282"/>
            <a:chOff x="10652400" y="4322824"/>
            <a:chExt cx="875977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150FC312-FC41-49AE-8714-9B93CA3E00F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67B79904-CF60-40E4-BE3F-CD355DD57E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CFCC7B73-F44C-4327-87C0-28C078F322A8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C312F557-47D5-4EDD-8EE2-9B176B28597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19378EE9-AEC0-455A-9E02-E86FE27FCAE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B835265B-3ECF-496E-BD37-3AFC71AE13BC}"/>
                </a:ext>
              </a:extLst>
            </p:cNvPr>
            <p:cNvSpPr txBox="1"/>
            <p:nvPr/>
          </p:nvSpPr>
          <p:spPr>
            <a:xfrm>
              <a:off x="10978546" y="432282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6847852-03B6-4D74-ABC1-18410C40013F}"/>
                </a:ext>
              </a:extLst>
            </p:cNvPr>
            <p:cNvSpPr txBox="1"/>
            <p:nvPr/>
          </p:nvSpPr>
          <p:spPr>
            <a:xfrm>
              <a:off x="10978546" y="470232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194F896E-BE3D-40F3-AD62-0EA8BD5DAF92}"/>
                </a:ext>
              </a:extLst>
            </p:cNvPr>
            <p:cNvSpPr txBox="1"/>
            <p:nvPr/>
          </p:nvSpPr>
          <p:spPr>
            <a:xfrm>
              <a:off x="10978546" y="5081820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0BB6E76F-CDEC-439C-9CC3-7513BFFB4D83}"/>
                </a:ext>
              </a:extLst>
            </p:cNvPr>
            <p:cNvSpPr txBox="1"/>
            <p:nvPr/>
          </p:nvSpPr>
          <p:spPr>
            <a:xfrm>
              <a:off x="10978546" y="5453241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53DB6311-6403-4710-B875-A7CE066978E1}"/>
                </a:ext>
              </a:extLst>
            </p:cNvPr>
            <p:cNvSpPr txBox="1"/>
            <p:nvPr/>
          </p:nvSpPr>
          <p:spPr>
            <a:xfrm>
              <a:off x="10978545" y="582466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</p:grp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 userDrawn="1">
            <p:ph type="title"/>
            <p:custDataLst>
              <p:tags r:id="rId21"/>
            </p:custDataLst>
          </p:nvPr>
        </p:nvSpPr>
        <p:spPr>
          <a:xfrm>
            <a:off x="554736" y="654810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A344A3BA-F7C8-4C88-BC3E-3271C18C4A10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075713" y="6347101"/>
            <a:ext cx="1181716" cy="283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62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74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HEINEKEN Core" panose="02000503050000020004" pitchFamily="2" charset="0"/>
              <a:ea typeface="+mj-ea"/>
              <a:cs typeface="+mj-cs"/>
              <a:sym typeface="HEINEKEN Core" panose="02000503050000020004" pitchFamily="2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654810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379829"/>
            <a:ext cx="394339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Above Chart Exhibit Title</a:t>
            </a:r>
          </a:p>
          <a:p>
            <a:pPr lvl="0"/>
            <a:r>
              <a:rPr lang="en-GB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04184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904564BB-418B-43A1-BD54-4664E969E356}"/>
              </a:ext>
            </a:extLst>
          </p:cNvPr>
          <p:cNvGrpSpPr/>
          <p:nvPr userDrawn="1"/>
        </p:nvGrpSpPr>
        <p:grpSpPr>
          <a:xfrm>
            <a:off x="10714801" y="4381500"/>
            <a:ext cx="875977" cy="1717282"/>
            <a:chOff x="10554770" y="4322824"/>
            <a:chExt cx="875977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743ED65A-AD82-47A8-AD24-A90FA700520B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4034F964-2315-4ABE-B02E-D60C1E179F5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A9CF5360-CC61-4831-A338-3CA80A3DF59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46D512FC-FD5B-4343-9BEB-4B9D67900780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8544AD56-AE0F-43B0-A17F-A2AAA597BEEA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C1493529-0D15-4225-B602-131E38D274D8}"/>
                </a:ext>
              </a:extLst>
            </p:cNvPr>
            <p:cNvSpPr txBox="1"/>
            <p:nvPr/>
          </p:nvSpPr>
          <p:spPr>
            <a:xfrm>
              <a:off x="10880916" y="432282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4D84D4F8-370B-47F4-94DA-CA4702DED818}"/>
                </a:ext>
              </a:extLst>
            </p:cNvPr>
            <p:cNvSpPr txBox="1"/>
            <p:nvPr/>
          </p:nvSpPr>
          <p:spPr>
            <a:xfrm>
              <a:off x="10880916" y="470232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59E95E03-8AC3-479A-AFF3-2F230BFA2D13}"/>
                </a:ext>
              </a:extLst>
            </p:cNvPr>
            <p:cNvSpPr txBox="1"/>
            <p:nvPr/>
          </p:nvSpPr>
          <p:spPr>
            <a:xfrm>
              <a:off x="10880916" y="5081820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7AABD07E-1B54-4898-814B-C6AD6E5F8AAF}"/>
                </a:ext>
              </a:extLst>
            </p:cNvPr>
            <p:cNvSpPr txBox="1"/>
            <p:nvPr/>
          </p:nvSpPr>
          <p:spPr>
            <a:xfrm>
              <a:off x="10880916" y="5453241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CE4E7E76-878C-4239-AD00-56D6BF3AFF99}"/>
                </a:ext>
              </a:extLst>
            </p:cNvPr>
            <p:cNvSpPr txBox="1"/>
            <p:nvPr/>
          </p:nvSpPr>
          <p:spPr>
            <a:xfrm>
              <a:off x="10880915" y="582466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9E71973A-C50E-4E4D-AE1A-F1F21714685D}"/>
              </a:ext>
            </a:extLst>
          </p:cNvPr>
          <p:cNvGrpSpPr/>
          <p:nvPr userDrawn="1"/>
        </p:nvGrpSpPr>
        <p:grpSpPr>
          <a:xfrm>
            <a:off x="10317304" y="3150831"/>
            <a:ext cx="1273474" cy="958286"/>
            <a:chOff x="10162879" y="3243772"/>
            <a:chExt cx="1273474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59B9CB91-3C30-4055-8A5B-483C0339E56E}"/>
                </a:ext>
              </a:extLst>
            </p:cNvPr>
            <p:cNvSpPr txBox="1"/>
            <p:nvPr/>
          </p:nvSpPr>
          <p:spPr>
            <a:xfrm>
              <a:off x="10886522" y="3243772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E62D5927-0FB2-499C-AB27-2453A60A8C26}"/>
                </a:ext>
              </a:extLst>
            </p:cNvPr>
            <p:cNvSpPr txBox="1"/>
            <p:nvPr/>
          </p:nvSpPr>
          <p:spPr>
            <a:xfrm>
              <a:off x="10886522" y="3615193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B9A41A02-0342-4E4C-81C1-9B4C3797728E}"/>
                </a:ext>
              </a:extLst>
            </p:cNvPr>
            <p:cNvSpPr txBox="1"/>
            <p:nvPr/>
          </p:nvSpPr>
          <p:spPr>
            <a:xfrm>
              <a:off x="10886522" y="3986614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8AB51179-EAD2-4E8E-9375-CF80CD2D894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50DA71A3-C818-430F-AFD7-8F2DD16A3C4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37B2F801-14DE-4850-B607-CE2A6AFC74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6FF69CA3-8A4F-4AFB-864D-7086CD0D86AD}"/>
              </a:ext>
            </a:extLst>
          </p:cNvPr>
          <p:cNvGrpSpPr/>
          <p:nvPr userDrawn="1"/>
        </p:nvGrpSpPr>
        <p:grpSpPr>
          <a:xfrm>
            <a:off x="10684859" y="1146588"/>
            <a:ext cx="902463" cy="1731859"/>
            <a:chOff x="7716535" y="2630582"/>
            <a:chExt cx="902463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B7BE9ED6-C55F-487E-BFC1-1FD79F854D5F}"/>
                </a:ext>
              </a:extLst>
            </p:cNvPr>
            <p:cNvSpPr txBox="1"/>
            <p:nvPr/>
          </p:nvSpPr>
          <p:spPr>
            <a:xfrm>
              <a:off x="8069167" y="2637941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788F2D99-C6DF-4465-8F4A-5B1A0307F2B3}"/>
                </a:ext>
              </a:extLst>
            </p:cNvPr>
            <p:cNvSpPr txBox="1"/>
            <p:nvPr/>
          </p:nvSpPr>
          <p:spPr>
            <a:xfrm>
              <a:off x="8069167" y="3013400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1C6BCC82-1276-46FC-8AE0-6AAC067A74B2}"/>
                </a:ext>
              </a:extLst>
            </p:cNvPr>
            <p:cNvSpPr txBox="1"/>
            <p:nvPr/>
          </p:nvSpPr>
          <p:spPr>
            <a:xfrm>
              <a:off x="8069167" y="3388859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B3A85019-4CF6-42C2-A4E7-F80EE9218846}"/>
                </a:ext>
              </a:extLst>
            </p:cNvPr>
            <p:cNvSpPr txBox="1"/>
            <p:nvPr/>
          </p:nvSpPr>
          <p:spPr>
            <a:xfrm>
              <a:off x="8069167" y="3764318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A2358767-9DE1-4C6F-AB43-BFFF1FE165E7}"/>
                </a:ext>
              </a:extLst>
            </p:cNvPr>
            <p:cNvSpPr txBox="1"/>
            <p:nvPr/>
          </p:nvSpPr>
          <p:spPr>
            <a:xfrm>
              <a:off x="8069167" y="4139779"/>
              <a:ext cx="5498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BDCD4C2A-E267-437E-8099-09965DDBC4C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FD893379-6489-4839-9989-D82416E7B37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EBD5DE39-CBCD-4043-852C-BF150FCAD73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8F0F9968-C163-4144-9684-D489C1EAED4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4A20804E-91CE-4708-8B93-084F28FF069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B7368B26-AEC4-4C19-8EFB-423BBDEC424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EF969479-BA10-4E80-A980-C6EEEE436AD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24800494-1B95-4149-8310-06C00ECD357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748E5BDF-B68F-4762-A8D6-F2A33C1A1C9D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A7ECB8AA-DD91-49E8-B578-F2FAC511FB10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285A4D41-5099-404E-A445-DFA29E73625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13AEF51A-BDB3-48CC-BEA3-E8EA228C34B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DC411EB5-C733-475B-BDB7-076E44EFD87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3D9B3146-7A0C-4512-B32C-3946BDD3611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0551277C-5F6E-4040-B4CA-C257B0140319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351D690-4B8F-41EC-BB4D-48863F127C6A}"/>
              </a:ext>
            </a:extLst>
          </p:cNvPr>
          <p:cNvGrpSpPr/>
          <p:nvPr userDrawn="1"/>
        </p:nvGrpSpPr>
        <p:grpSpPr bwMode="ltGray">
          <a:xfrm>
            <a:off x="10075713" y="6347101"/>
            <a:ext cx="1181715" cy="283428"/>
            <a:chOff x="10077704" y="6347101"/>
            <a:chExt cx="1181715" cy="283428"/>
          </a:xfrm>
        </p:grpSpPr>
        <p:pic>
          <p:nvPicPr>
            <p:cNvPr id="170" name="Picture 169">
              <a:extLst>
                <a:ext uri="{FF2B5EF4-FFF2-40B4-BE49-F238E27FC236}">
                  <a16:creationId xmlns:a16="http://schemas.microsoft.com/office/drawing/2014/main" id="{AA9A2132-1F36-45A5-9341-3D97C36C68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10077704" y="6347101"/>
              <a:ext cx="200880" cy="200000"/>
            </a:xfrm>
            <a:prstGeom prst="rect">
              <a:avLst/>
            </a:prstGeom>
          </p:spPr>
        </p:pic>
        <p:pic>
          <p:nvPicPr>
            <p:cNvPr id="172" name="Picture 171">
              <a:extLst>
                <a:ext uri="{FF2B5EF4-FFF2-40B4-BE49-F238E27FC236}">
                  <a16:creationId xmlns:a16="http://schemas.microsoft.com/office/drawing/2014/main" id="{DD5DBA17-ACAD-4D03-825F-A6DB3F12CF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1" cstate="print">
              <a:extLst>
                <a:ext uri="{BEBA8EAE-BF5A-486C-A8C5-ECC9F3942E4B}">
                  <a14:imgProps xmlns:a14="http://schemas.microsoft.com/office/drawing/2010/main">
                    <a14:imgLayer r:embed="rId4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-2"/>
            <a:stretch/>
          </p:blipFill>
          <p:spPr bwMode="ltGray">
            <a:xfrm>
              <a:off x="10180638" y="6469034"/>
              <a:ext cx="1078781" cy="161495"/>
            </a:xfrm>
            <a:prstGeom prst="rect">
              <a:avLst/>
            </a:prstGeom>
          </p:spPr>
        </p:pic>
      </p:grpSp>
      <p:sp>
        <p:nvSpPr>
          <p:cNvPr id="144" name="Slide Number">
            <a:extLst>
              <a:ext uri="{FF2B5EF4-FFF2-40B4-BE49-F238E27FC236}">
                <a16:creationId xmlns:a16="http://schemas.microsoft.com/office/drawing/2014/main" id="{04E3B523-BB22-42B1-B32F-63C43723632E}"/>
              </a:ext>
            </a:extLst>
          </p:cNvPr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50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536" y="1972800"/>
            <a:ext cx="11176927" cy="437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48344" y="6534950"/>
            <a:ext cx="1440094" cy="13850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CE6238A-7AA3-41F5-B5CF-2F664E9FBAE9}" type="datetime1">
              <a:rPr lang="en-GB" smtClean="0"/>
              <a:pPr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536" y="6534950"/>
            <a:ext cx="9340808" cy="1385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8438" y="6534950"/>
            <a:ext cx="396026" cy="13850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5286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94000"/>
        </a:lnSpc>
        <a:spcBef>
          <a:spcPts val="1150"/>
        </a:spcBef>
        <a:buFont typeface="HEINEKEN Core" panose="02000503050000020004" pitchFamily="50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40000" indent="-270000" algn="l" defTabSz="914355" rtl="0" eaLnBrk="1" latinLnBrk="0" hangingPunct="1">
        <a:lnSpc>
          <a:spcPct val="94000"/>
        </a:lnSpc>
        <a:spcBef>
          <a:spcPts val="450"/>
        </a:spcBef>
        <a:buFont typeface="HEINEKEN Core" panose="02000503050000020004" pitchFamily="50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89000" indent="-189000" algn="l" defTabSz="914355" rtl="0" eaLnBrk="1" latinLnBrk="0" hangingPunct="1">
        <a:lnSpc>
          <a:spcPct val="103000"/>
        </a:lnSpc>
        <a:spcBef>
          <a:spcPts val="1150"/>
        </a:spcBef>
        <a:buFont typeface="HEINEKEN Core" panose="02000503050000020004" pitchFamily="50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378000" indent="-189000" algn="l" defTabSz="914355" rtl="0" eaLnBrk="1" latinLnBrk="0" hangingPunct="1">
        <a:lnSpc>
          <a:spcPct val="103000"/>
        </a:lnSpc>
        <a:spcBef>
          <a:spcPts val="450"/>
        </a:spcBef>
        <a:buFont typeface="HEINEKEN Core" panose="02000503050000020004" pitchFamily="50" charset="0"/>
        <a:buChar char="–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89000" indent="-189000" algn="l" defTabSz="914355" rtl="0" eaLnBrk="1" latinLnBrk="0" hangingPunct="1">
        <a:lnSpc>
          <a:spcPct val="103000"/>
        </a:lnSpc>
        <a:spcBef>
          <a:spcPts val="1150"/>
        </a:spcBef>
        <a:buFont typeface="HEINEKEN Core" panose="02000503050000020004" pitchFamily="50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535" y="507600"/>
            <a:ext cx="917995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536" y="1972800"/>
            <a:ext cx="11176927" cy="437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848344" y="6534950"/>
            <a:ext cx="1440094" cy="13850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4CE6238A-7AA3-41F5-B5CF-2F664E9FBAE9}" type="datetime1">
              <a:rPr lang="en-GB" smtClean="0"/>
              <a:pPr/>
              <a:t>23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7536" y="6534950"/>
            <a:ext cx="9340808" cy="1385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8438" y="6534950"/>
            <a:ext cx="396026" cy="13850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881ED612-8DD5-4601-AE13-A8567E36205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112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94000"/>
        </a:lnSpc>
        <a:spcBef>
          <a:spcPts val="1150"/>
        </a:spcBef>
        <a:buFont typeface="HEINEKEN Core" panose="02000503050000020004" pitchFamily="50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40000" indent="-270000" algn="l" defTabSz="914355" rtl="0" eaLnBrk="1" latinLnBrk="0" hangingPunct="1">
        <a:lnSpc>
          <a:spcPct val="94000"/>
        </a:lnSpc>
        <a:spcBef>
          <a:spcPts val="450"/>
        </a:spcBef>
        <a:buFont typeface="HEINEKEN Core" panose="02000503050000020004" pitchFamily="50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89000" indent="-189000" algn="l" defTabSz="914355" rtl="0" eaLnBrk="1" latinLnBrk="0" hangingPunct="1">
        <a:lnSpc>
          <a:spcPct val="103000"/>
        </a:lnSpc>
        <a:spcBef>
          <a:spcPts val="1150"/>
        </a:spcBef>
        <a:buFont typeface="HEINEKEN Core" panose="02000503050000020004" pitchFamily="50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378000" indent="-189000" algn="l" defTabSz="914355" rtl="0" eaLnBrk="1" latinLnBrk="0" hangingPunct="1">
        <a:lnSpc>
          <a:spcPct val="103000"/>
        </a:lnSpc>
        <a:spcBef>
          <a:spcPts val="450"/>
        </a:spcBef>
        <a:buFont typeface="HEINEKEN Core" panose="02000503050000020004" pitchFamily="50" charset="0"/>
        <a:buChar char="–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89000" indent="-189000" algn="l" defTabSz="914355" rtl="0" eaLnBrk="1" latinLnBrk="0" hangingPunct="1">
        <a:lnSpc>
          <a:spcPct val="103000"/>
        </a:lnSpc>
        <a:spcBef>
          <a:spcPts val="1150"/>
        </a:spcBef>
        <a:buFont typeface="HEINEKEN Core" panose="02000503050000020004" pitchFamily="50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43.xml"/><Relationship Id="rId7" Type="http://schemas.openxmlformats.org/officeDocument/2006/relationships/oleObject" Target="../embeddings/oleObject35.bin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3.emf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25.png"/><Relationship Id="rId10" Type="http://schemas.microsoft.com/office/2007/relationships/hdphoto" Target="../media/hdphoto4.wdp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48.xml"/><Relationship Id="rId7" Type="http://schemas.openxmlformats.org/officeDocument/2006/relationships/oleObject" Target="../embeddings/oleObject37.bin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49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1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50.xml"/><Relationship Id="rId6" Type="http://schemas.microsoft.com/office/2007/relationships/hdphoto" Target="../media/hdphoto5.wdp"/><Relationship Id="rId11" Type="http://schemas.openxmlformats.org/officeDocument/2006/relationships/image" Target="../media/image44.png"/><Relationship Id="rId5" Type="http://schemas.openxmlformats.org/officeDocument/2006/relationships/image" Target="../media/image40.png"/><Relationship Id="rId10" Type="http://schemas.openxmlformats.org/officeDocument/2006/relationships/image" Target="../media/image43.png"/><Relationship Id="rId4" Type="http://schemas.openxmlformats.org/officeDocument/2006/relationships/image" Target="../media/image39.png"/><Relationship Id="rId9" Type="http://schemas.openxmlformats.org/officeDocument/2006/relationships/hyperlink" Target="https://www.chatconverter.space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3406" y="0"/>
            <a:ext cx="6858594" cy="6858594"/>
          </a:xfrm>
          <a:prstGeom prst="rect">
            <a:avLst/>
          </a:prstGeom>
        </p:spPr>
      </p:pic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06018EC4-38E3-49F3-8FBE-26C5C961B1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8" imgH="408" progId="TCLayout.ActiveDocument.1">
                  <p:embed/>
                </p:oleObj>
              </mc:Choice>
              <mc:Fallback>
                <p:oleObj name="think-cell Slide" r:id="rId7" imgW="408" imgH="408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06018EC4-38E3-49F3-8FBE-26C5C961B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Vrije vorm: vorm 15">
            <a:extLst>
              <a:ext uri="{FF2B5EF4-FFF2-40B4-BE49-F238E27FC236}">
                <a16:creationId xmlns:a16="http://schemas.microsoft.com/office/drawing/2014/main" id="{D781A05C-AA3C-4AF0-AF64-778A73FD093B}"/>
              </a:ext>
            </a:extLst>
          </p:cNvPr>
          <p:cNvSpPr/>
          <p:nvPr/>
        </p:nvSpPr>
        <p:spPr>
          <a:xfrm>
            <a:off x="1825084" y="0"/>
            <a:ext cx="6852368" cy="6858000"/>
          </a:xfrm>
          <a:custGeom>
            <a:avLst/>
            <a:gdLst>
              <a:gd name="connsiteX0" fmla="*/ 0 w 11016761"/>
              <a:gd name="connsiteY0" fmla="*/ 0 h 9152792"/>
              <a:gd name="connsiteX1" fmla="*/ 9416561 w 11016761"/>
              <a:gd name="connsiteY1" fmla="*/ 0 h 9152792"/>
              <a:gd name="connsiteX2" fmla="*/ 11016761 w 11016761"/>
              <a:gd name="connsiteY2" fmla="*/ 4572000 h 9152792"/>
              <a:gd name="connsiteX3" fmla="*/ 9398977 w 11016761"/>
              <a:gd name="connsiteY3" fmla="*/ 9152792 h 9152792"/>
              <a:gd name="connsiteX4" fmla="*/ 0 w 11016761"/>
              <a:gd name="connsiteY4" fmla="*/ 9152792 h 9152792"/>
              <a:gd name="connsiteX5" fmla="*/ 0 w 11016761"/>
              <a:gd name="connsiteY5" fmla="*/ 0 h 9152792"/>
              <a:gd name="connsiteX0" fmla="*/ 0 w 19026905"/>
              <a:gd name="connsiteY0" fmla="*/ 0 h 9171080"/>
              <a:gd name="connsiteX1" fmla="*/ 17426705 w 19026905"/>
              <a:gd name="connsiteY1" fmla="*/ 18288 h 9171080"/>
              <a:gd name="connsiteX2" fmla="*/ 19026905 w 19026905"/>
              <a:gd name="connsiteY2" fmla="*/ 4590288 h 9171080"/>
              <a:gd name="connsiteX3" fmla="*/ 17409121 w 19026905"/>
              <a:gd name="connsiteY3" fmla="*/ 9171080 h 9171080"/>
              <a:gd name="connsiteX4" fmla="*/ 8010144 w 19026905"/>
              <a:gd name="connsiteY4" fmla="*/ 9171080 h 9171080"/>
              <a:gd name="connsiteX5" fmla="*/ 0 w 19026905"/>
              <a:gd name="connsiteY5" fmla="*/ 0 h 9171080"/>
              <a:gd name="connsiteX0" fmla="*/ 0 w 19026905"/>
              <a:gd name="connsiteY0" fmla="*/ 0 h 9171080"/>
              <a:gd name="connsiteX1" fmla="*/ 17426705 w 19026905"/>
              <a:gd name="connsiteY1" fmla="*/ 18288 h 9171080"/>
              <a:gd name="connsiteX2" fmla="*/ 19026905 w 19026905"/>
              <a:gd name="connsiteY2" fmla="*/ 4590288 h 9171080"/>
              <a:gd name="connsiteX3" fmla="*/ 17409121 w 19026905"/>
              <a:gd name="connsiteY3" fmla="*/ 9171080 h 9171080"/>
              <a:gd name="connsiteX4" fmla="*/ 18288 w 19026905"/>
              <a:gd name="connsiteY4" fmla="*/ 9152792 h 9171080"/>
              <a:gd name="connsiteX5" fmla="*/ 0 w 19026905"/>
              <a:gd name="connsiteY5" fmla="*/ 0 h 9171080"/>
              <a:gd name="connsiteX0" fmla="*/ 0 w 19026905"/>
              <a:gd name="connsiteY0" fmla="*/ 11857 h 9182937"/>
              <a:gd name="connsiteX1" fmla="*/ 17396559 w 19026905"/>
              <a:gd name="connsiteY1" fmla="*/ 0 h 9182937"/>
              <a:gd name="connsiteX2" fmla="*/ 19026905 w 19026905"/>
              <a:gd name="connsiteY2" fmla="*/ 4602145 h 9182937"/>
              <a:gd name="connsiteX3" fmla="*/ 17409121 w 19026905"/>
              <a:gd name="connsiteY3" fmla="*/ 9182937 h 9182937"/>
              <a:gd name="connsiteX4" fmla="*/ 18288 w 19026905"/>
              <a:gd name="connsiteY4" fmla="*/ 9164649 h 9182937"/>
              <a:gd name="connsiteX5" fmla="*/ 0 w 19026905"/>
              <a:gd name="connsiteY5" fmla="*/ 11857 h 9182937"/>
              <a:gd name="connsiteX0" fmla="*/ 0 w 19026905"/>
              <a:gd name="connsiteY0" fmla="*/ 11857 h 9203034"/>
              <a:gd name="connsiteX1" fmla="*/ 17396559 w 19026905"/>
              <a:gd name="connsiteY1" fmla="*/ 0 h 9203034"/>
              <a:gd name="connsiteX2" fmla="*/ 19026905 w 19026905"/>
              <a:gd name="connsiteY2" fmla="*/ 4602145 h 9203034"/>
              <a:gd name="connsiteX3" fmla="*/ 17399071 w 19026905"/>
              <a:gd name="connsiteY3" fmla="*/ 9203034 h 9203034"/>
              <a:gd name="connsiteX4" fmla="*/ 18288 w 19026905"/>
              <a:gd name="connsiteY4" fmla="*/ 9164649 h 9203034"/>
              <a:gd name="connsiteX5" fmla="*/ 0 w 19026905"/>
              <a:gd name="connsiteY5" fmla="*/ 11857 h 9203034"/>
              <a:gd name="connsiteX0" fmla="*/ 0 w 19026905"/>
              <a:gd name="connsiteY0" fmla="*/ 11857 h 9164649"/>
              <a:gd name="connsiteX1" fmla="*/ 17396559 w 19026905"/>
              <a:gd name="connsiteY1" fmla="*/ 0 h 9164649"/>
              <a:gd name="connsiteX2" fmla="*/ 19026905 w 19026905"/>
              <a:gd name="connsiteY2" fmla="*/ 4602145 h 9164649"/>
              <a:gd name="connsiteX3" fmla="*/ 17419169 w 19026905"/>
              <a:gd name="connsiteY3" fmla="*/ 9152793 h 9164649"/>
              <a:gd name="connsiteX4" fmla="*/ 18288 w 19026905"/>
              <a:gd name="connsiteY4" fmla="*/ 9164649 h 9164649"/>
              <a:gd name="connsiteX5" fmla="*/ 0 w 19026905"/>
              <a:gd name="connsiteY5" fmla="*/ 11857 h 9164649"/>
              <a:gd name="connsiteX0" fmla="*/ 6055941 w 19008617"/>
              <a:gd name="connsiteY0" fmla="*/ 452729 h 9164649"/>
              <a:gd name="connsiteX1" fmla="*/ 17378271 w 19008617"/>
              <a:gd name="connsiteY1" fmla="*/ 0 h 9164649"/>
              <a:gd name="connsiteX2" fmla="*/ 19008617 w 19008617"/>
              <a:gd name="connsiteY2" fmla="*/ 4602145 h 9164649"/>
              <a:gd name="connsiteX3" fmla="*/ 17400881 w 19008617"/>
              <a:gd name="connsiteY3" fmla="*/ 9152793 h 9164649"/>
              <a:gd name="connsiteX4" fmla="*/ 0 w 19008617"/>
              <a:gd name="connsiteY4" fmla="*/ 9164649 h 9164649"/>
              <a:gd name="connsiteX5" fmla="*/ 6055941 w 19008617"/>
              <a:gd name="connsiteY5" fmla="*/ 452729 h 9164649"/>
              <a:gd name="connsiteX0" fmla="*/ 7117299 w 19008617"/>
              <a:gd name="connsiteY0" fmla="*/ 0 h 9169120"/>
              <a:gd name="connsiteX1" fmla="*/ 17378271 w 19008617"/>
              <a:gd name="connsiteY1" fmla="*/ 4471 h 9169120"/>
              <a:gd name="connsiteX2" fmla="*/ 19008617 w 19008617"/>
              <a:gd name="connsiteY2" fmla="*/ 4606616 h 9169120"/>
              <a:gd name="connsiteX3" fmla="*/ 17400881 w 19008617"/>
              <a:gd name="connsiteY3" fmla="*/ 9157264 h 9169120"/>
              <a:gd name="connsiteX4" fmla="*/ 0 w 19008617"/>
              <a:gd name="connsiteY4" fmla="*/ 9169120 h 9169120"/>
              <a:gd name="connsiteX5" fmla="*/ 7117299 w 19008617"/>
              <a:gd name="connsiteY5" fmla="*/ 0 h 9169120"/>
              <a:gd name="connsiteX0" fmla="*/ 0 w 11891318"/>
              <a:gd name="connsiteY0" fmla="*/ 0 h 9157264"/>
              <a:gd name="connsiteX1" fmla="*/ 10260972 w 11891318"/>
              <a:gd name="connsiteY1" fmla="*/ 4471 h 9157264"/>
              <a:gd name="connsiteX2" fmla="*/ 11891318 w 11891318"/>
              <a:gd name="connsiteY2" fmla="*/ 4606616 h 9157264"/>
              <a:gd name="connsiteX3" fmla="*/ 10283582 w 11891318"/>
              <a:gd name="connsiteY3" fmla="*/ 9157264 h 9157264"/>
              <a:gd name="connsiteX4" fmla="*/ 2059358 w 11891318"/>
              <a:gd name="connsiteY4" fmla="*/ 7944477 h 9157264"/>
              <a:gd name="connsiteX5" fmla="*/ 0 w 11891318"/>
              <a:gd name="connsiteY5" fmla="*/ 0 h 9157264"/>
              <a:gd name="connsiteX0" fmla="*/ 0 w 11891318"/>
              <a:gd name="connsiteY0" fmla="*/ 0 h 9157264"/>
              <a:gd name="connsiteX1" fmla="*/ 10260972 w 11891318"/>
              <a:gd name="connsiteY1" fmla="*/ 4471 h 9157264"/>
              <a:gd name="connsiteX2" fmla="*/ 11891318 w 11891318"/>
              <a:gd name="connsiteY2" fmla="*/ 4606616 h 9157264"/>
              <a:gd name="connsiteX3" fmla="*/ 10283582 w 11891318"/>
              <a:gd name="connsiteY3" fmla="*/ 9157264 h 9157264"/>
              <a:gd name="connsiteX4" fmla="*/ 18287 w 11891318"/>
              <a:gd name="connsiteY4" fmla="*/ 9152792 h 9157264"/>
              <a:gd name="connsiteX5" fmla="*/ 0 w 11891318"/>
              <a:gd name="connsiteY5" fmla="*/ 0 h 9157264"/>
              <a:gd name="connsiteX0" fmla="*/ 14371 w 11905689"/>
              <a:gd name="connsiteY0" fmla="*/ 0 h 9157264"/>
              <a:gd name="connsiteX1" fmla="*/ 10275343 w 11905689"/>
              <a:gd name="connsiteY1" fmla="*/ 4471 h 9157264"/>
              <a:gd name="connsiteX2" fmla="*/ 11905689 w 11905689"/>
              <a:gd name="connsiteY2" fmla="*/ 4606616 h 9157264"/>
              <a:gd name="connsiteX3" fmla="*/ 10297953 w 11905689"/>
              <a:gd name="connsiteY3" fmla="*/ 9157264 h 9157264"/>
              <a:gd name="connsiteX4" fmla="*/ 0 w 11905689"/>
              <a:gd name="connsiteY4" fmla="*/ 9152792 h 9157264"/>
              <a:gd name="connsiteX5" fmla="*/ 14371 w 11905689"/>
              <a:gd name="connsiteY5" fmla="*/ 0 h 9157264"/>
              <a:gd name="connsiteX0" fmla="*/ 14371 w 11905689"/>
              <a:gd name="connsiteY0" fmla="*/ 0 h 9173306"/>
              <a:gd name="connsiteX1" fmla="*/ 10275343 w 11905689"/>
              <a:gd name="connsiteY1" fmla="*/ 4471 h 9173306"/>
              <a:gd name="connsiteX2" fmla="*/ 11905689 w 11905689"/>
              <a:gd name="connsiteY2" fmla="*/ 4606616 h 9173306"/>
              <a:gd name="connsiteX3" fmla="*/ 10297953 w 11905689"/>
              <a:gd name="connsiteY3" fmla="*/ 9173306 h 9173306"/>
              <a:gd name="connsiteX4" fmla="*/ 0 w 11905689"/>
              <a:gd name="connsiteY4" fmla="*/ 9152792 h 9173306"/>
              <a:gd name="connsiteX5" fmla="*/ 14371 w 11905689"/>
              <a:gd name="connsiteY5" fmla="*/ 0 h 9173306"/>
              <a:gd name="connsiteX0" fmla="*/ 0 w 12829781"/>
              <a:gd name="connsiteY0" fmla="*/ 19592 h 9168835"/>
              <a:gd name="connsiteX1" fmla="*/ 11199435 w 12829781"/>
              <a:gd name="connsiteY1" fmla="*/ 0 h 9168835"/>
              <a:gd name="connsiteX2" fmla="*/ 12829781 w 12829781"/>
              <a:gd name="connsiteY2" fmla="*/ 4602145 h 9168835"/>
              <a:gd name="connsiteX3" fmla="*/ 11222045 w 12829781"/>
              <a:gd name="connsiteY3" fmla="*/ 9168835 h 9168835"/>
              <a:gd name="connsiteX4" fmla="*/ 924092 w 12829781"/>
              <a:gd name="connsiteY4" fmla="*/ 9148321 h 9168835"/>
              <a:gd name="connsiteX5" fmla="*/ 0 w 12829781"/>
              <a:gd name="connsiteY5" fmla="*/ 19592 h 9168835"/>
              <a:gd name="connsiteX0" fmla="*/ 0 w 12829781"/>
              <a:gd name="connsiteY0" fmla="*/ 19592 h 9172384"/>
              <a:gd name="connsiteX1" fmla="*/ 11199435 w 12829781"/>
              <a:gd name="connsiteY1" fmla="*/ 0 h 9172384"/>
              <a:gd name="connsiteX2" fmla="*/ 12829781 w 12829781"/>
              <a:gd name="connsiteY2" fmla="*/ 4602145 h 9172384"/>
              <a:gd name="connsiteX3" fmla="*/ 11222045 w 12829781"/>
              <a:gd name="connsiteY3" fmla="*/ 9168835 h 9172384"/>
              <a:gd name="connsiteX4" fmla="*/ 1671 w 12829781"/>
              <a:gd name="connsiteY4" fmla="*/ 9172384 h 9172384"/>
              <a:gd name="connsiteX5" fmla="*/ 0 w 12829781"/>
              <a:gd name="connsiteY5" fmla="*/ 19592 h 9172384"/>
              <a:gd name="connsiteX0" fmla="*/ 2062261 w 12828110"/>
              <a:gd name="connsiteY0" fmla="*/ 137158 h 9172384"/>
              <a:gd name="connsiteX1" fmla="*/ 11197764 w 12828110"/>
              <a:gd name="connsiteY1" fmla="*/ 0 h 9172384"/>
              <a:gd name="connsiteX2" fmla="*/ 12828110 w 12828110"/>
              <a:gd name="connsiteY2" fmla="*/ 4602145 h 9172384"/>
              <a:gd name="connsiteX3" fmla="*/ 11220374 w 12828110"/>
              <a:gd name="connsiteY3" fmla="*/ 9168835 h 9172384"/>
              <a:gd name="connsiteX4" fmla="*/ 0 w 12828110"/>
              <a:gd name="connsiteY4" fmla="*/ 9172384 h 9172384"/>
              <a:gd name="connsiteX5" fmla="*/ 2062261 w 12828110"/>
              <a:gd name="connsiteY5" fmla="*/ 137158 h 9172384"/>
              <a:gd name="connsiteX0" fmla="*/ 1291552 w 12828110"/>
              <a:gd name="connsiteY0" fmla="*/ 32655 h 9172384"/>
              <a:gd name="connsiteX1" fmla="*/ 11197764 w 12828110"/>
              <a:gd name="connsiteY1" fmla="*/ 0 h 9172384"/>
              <a:gd name="connsiteX2" fmla="*/ 12828110 w 12828110"/>
              <a:gd name="connsiteY2" fmla="*/ 4602145 h 9172384"/>
              <a:gd name="connsiteX3" fmla="*/ 11220374 w 12828110"/>
              <a:gd name="connsiteY3" fmla="*/ 9168835 h 9172384"/>
              <a:gd name="connsiteX4" fmla="*/ 0 w 12828110"/>
              <a:gd name="connsiteY4" fmla="*/ 9172384 h 9172384"/>
              <a:gd name="connsiteX5" fmla="*/ 1291552 w 12828110"/>
              <a:gd name="connsiteY5" fmla="*/ 32655 h 9172384"/>
              <a:gd name="connsiteX0" fmla="*/ 1304615 w 12828110"/>
              <a:gd name="connsiteY0" fmla="*/ 0 h 9191981"/>
              <a:gd name="connsiteX1" fmla="*/ 11197764 w 12828110"/>
              <a:gd name="connsiteY1" fmla="*/ 19597 h 9191981"/>
              <a:gd name="connsiteX2" fmla="*/ 12828110 w 12828110"/>
              <a:gd name="connsiteY2" fmla="*/ 4621742 h 9191981"/>
              <a:gd name="connsiteX3" fmla="*/ 11220374 w 12828110"/>
              <a:gd name="connsiteY3" fmla="*/ 9188432 h 9191981"/>
              <a:gd name="connsiteX4" fmla="*/ 0 w 12828110"/>
              <a:gd name="connsiteY4" fmla="*/ 9191981 h 9191981"/>
              <a:gd name="connsiteX5" fmla="*/ 1304615 w 12828110"/>
              <a:gd name="connsiteY5" fmla="*/ 0 h 9191981"/>
              <a:gd name="connsiteX0" fmla="*/ 1304615 w 12828110"/>
              <a:gd name="connsiteY0" fmla="*/ 19591 h 9172384"/>
              <a:gd name="connsiteX1" fmla="*/ 11197764 w 12828110"/>
              <a:gd name="connsiteY1" fmla="*/ 0 h 9172384"/>
              <a:gd name="connsiteX2" fmla="*/ 12828110 w 12828110"/>
              <a:gd name="connsiteY2" fmla="*/ 4602145 h 9172384"/>
              <a:gd name="connsiteX3" fmla="*/ 11220374 w 12828110"/>
              <a:gd name="connsiteY3" fmla="*/ 9168835 h 9172384"/>
              <a:gd name="connsiteX4" fmla="*/ 0 w 12828110"/>
              <a:gd name="connsiteY4" fmla="*/ 9172384 h 9172384"/>
              <a:gd name="connsiteX5" fmla="*/ 1304615 w 12828110"/>
              <a:gd name="connsiteY5" fmla="*/ 19591 h 9172384"/>
              <a:gd name="connsiteX0" fmla="*/ 0 w 11523495"/>
              <a:gd name="connsiteY0" fmla="*/ 19591 h 9172384"/>
              <a:gd name="connsiteX1" fmla="*/ 9893149 w 11523495"/>
              <a:gd name="connsiteY1" fmla="*/ 0 h 9172384"/>
              <a:gd name="connsiteX2" fmla="*/ 11523495 w 11523495"/>
              <a:gd name="connsiteY2" fmla="*/ 4602145 h 9172384"/>
              <a:gd name="connsiteX3" fmla="*/ 9915759 w 11523495"/>
              <a:gd name="connsiteY3" fmla="*/ 9168835 h 9172384"/>
              <a:gd name="connsiteX4" fmla="*/ 27797 w 11523495"/>
              <a:gd name="connsiteY4" fmla="*/ 9172384 h 9172384"/>
              <a:gd name="connsiteX5" fmla="*/ 0 w 11523495"/>
              <a:gd name="connsiteY5" fmla="*/ 19591 h 9172384"/>
              <a:gd name="connsiteX0" fmla="*/ 1823306 w 11495698"/>
              <a:gd name="connsiteY0" fmla="*/ 64195 h 9172384"/>
              <a:gd name="connsiteX1" fmla="*/ 9865352 w 11495698"/>
              <a:gd name="connsiteY1" fmla="*/ 0 h 9172384"/>
              <a:gd name="connsiteX2" fmla="*/ 11495698 w 11495698"/>
              <a:gd name="connsiteY2" fmla="*/ 4602145 h 9172384"/>
              <a:gd name="connsiteX3" fmla="*/ 9887962 w 11495698"/>
              <a:gd name="connsiteY3" fmla="*/ 9168835 h 9172384"/>
              <a:gd name="connsiteX4" fmla="*/ 0 w 11495698"/>
              <a:gd name="connsiteY4" fmla="*/ 9172384 h 9172384"/>
              <a:gd name="connsiteX5" fmla="*/ 1823306 w 11495698"/>
              <a:gd name="connsiteY5" fmla="*/ 64195 h 9172384"/>
              <a:gd name="connsiteX0" fmla="*/ 2804613 w 11495698"/>
              <a:gd name="connsiteY0" fmla="*/ 131103 h 9172384"/>
              <a:gd name="connsiteX1" fmla="*/ 9865352 w 11495698"/>
              <a:gd name="connsiteY1" fmla="*/ 0 h 9172384"/>
              <a:gd name="connsiteX2" fmla="*/ 11495698 w 11495698"/>
              <a:gd name="connsiteY2" fmla="*/ 4602145 h 9172384"/>
              <a:gd name="connsiteX3" fmla="*/ 9887962 w 11495698"/>
              <a:gd name="connsiteY3" fmla="*/ 9168835 h 9172384"/>
              <a:gd name="connsiteX4" fmla="*/ 0 w 11495698"/>
              <a:gd name="connsiteY4" fmla="*/ 9172384 h 9172384"/>
              <a:gd name="connsiteX5" fmla="*/ 2804613 w 11495698"/>
              <a:gd name="connsiteY5" fmla="*/ 131103 h 9172384"/>
              <a:gd name="connsiteX0" fmla="*/ 1957121 w 11495698"/>
              <a:gd name="connsiteY0" fmla="*/ 41894 h 9172384"/>
              <a:gd name="connsiteX1" fmla="*/ 9865352 w 11495698"/>
              <a:gd name="connsiteY1" fmla="*/ 0 h 9172384"/>
              <a:gd name="connsiteX2" fmla="*/ 11495698 w 11495698"/>
              <a:gd name="connsiteY2" fmla="*/ 4602145 h 9172384"/>
              <a:gd name="connsiteX3" fmla="*/ 9887962 w 11495698"/>
              <a:gd name="connsiteY3" fmla="*/ 9168835 h 9172384"/>
              <a:gd name="connsiteX4" fmla="*/ 0 w 11495698"/>
              <a:gd name="connsiteY4" fmla="*/ 9172384 h 9172384"/>
              <a:gd name="connsiteX5" fmla="*/ 1957121 w 11495698"/>
              <a:gd name="connsiteY5" fmla="*/ 41894 h 9172384"/>
              <a:gd name="connsiteX0" fmla="*/ 1934818 w 11495698"/>
              <a:gd name="connsiteY0" fmla="*/ 19592 h 9172384"/>
              <a:gd name="connsiteX1" fmla="*/ 9865352 w 11495698"/>
              <a:gd name="connsiteY1" fmla="*/ 0 h 9172384"/>
              <a:gd name="connsiteX2" fmla="*/ 11495698 w 11495698"/>
              <a:gd name="connsiteY2" fmla="*/ 4602145 h 9172384"/>
              <a:gd name="connsiteX3" fmla="*/ 9887962 w 11495698"/>
              <a:gd name="connsiteY3" fmla="*/ 9168835 h 9172384"/>
              <a:gd name="connsiteX4" fmla="*/ 0 w 11495698"/>
              <a:gd name="connsiteY4" fmla="*/ 9172384 h 9172384"/>
              <a:gd name="connsiteX5" fmla="*/ 1934818 w 11495698"/>
              <a:gd name="connsiteY5" fmla="*/ 19592 h 9172384"/>
              <a:gd name="connsiteX0" fmla="*/ 1912516 w 11495698"/>
              <a:gd name="connsiteY0" fmla="*/ 0 h 9175095"/>
              <a:gd name="connsiteX1" fmla="*/ 9865352 w 11495698"/>
              <a:gd name="connsiteY1" fmla="*/ 2711 h 9175095"/>
              <a:gd name="connsiteX2" fmla="*/ 11495698 w 11495698"/>
              <a:gd name="connsiteY2" fmla="*/ 4604856 h 9175095"/>
              <a:gd name="connsiteX3" fmla="*/ 9887962 w 11495698"/>
              <a:gd name="connsiteY3" fmla="*/ 9171546 h 9175095"/>
              <a:gd name="connsiteX4" fmla="*/ 0 w 11495698"/>
              <a:gd name="connsiteY4" fmla="*/ 9175095 h 9175095"/>
              <a:gd name="connsiteX5" fmla="*/ 1912516 w 11495698"/>
              <a:gd name="connsiteY5" fmla="*/ 0 h 9175095"/>
              <a:gd name="connsiteX0" fmla="*/ 0 w 9583182"/>
              <a:gd name="connsiteY0" fmla="*/ 0 h 9171546"/>
              <a:gd name="connsiteX1" fmla="*/ 7952836 w 9583182"/>
              <a:gd name="connsiteY1" fmla="*/ 2711 h 9171546"/>
              <a:gd name="connsiteX2" fmla="*/ 9583182 w 9583182"/>
              <a:gd name="connsiteY2" fmla="*/ 4604856 h 9171546"/>
              <a:gd name="connsiteX3" fmla="*/ 7975446 w 9583182"/>
              <a:gd name="connsiteY3" fmla="*/ 9171546 h 9171546"/>
              <a:gd name="connsiteX4" fmla="*/ 852987 w 9583182"/>
              <a:gd name="connsiteY4" fmla="*/ 9141642 h 9171546"/>
              <a:gd name="connsiteX5" fmla="*/ 0 w 9583182"/>
              <a:gd name="connsiteY5" fmla="*/ 0 h 9171546"/>
              <a:gd name="connsiteX0" fmla="*/ 0 w 9583182"/>
              <a:gd name="connsiteY0" fmla="*/ 0 h 9175096"/>
              <a:gd name="connsiteX1" fmla="*/ 7952836 w 9583182"/>
              <a:gd name="connsiteY1" fmla="*/ 2711 h 9175096"/>
              <a:gd name="connsiteX2" fmla="*/ 9583182 w 9583182"/>
              <a:gd name="connsiteY2" fmla="*/ 4604856 h 9175096"/>
              <a:gd name="connsiteX3" fmla="*/ 7975446 w 9583182"/>
              <a:gd name="connsiteY3" fmla="*/ 9171546 h 9175096"/>
              <a:gd name="connsiteX4" fmla="*/ 38948 w 9583182"/>
              <a:gd name="connsiteY4" fmla="*/ 9175096 h 9175096"/>
              <a:gd name="connsiteX5" fmla="*/ 0 w 9583182"/>
              <a:gd name="connsiteY5" fmla="*/ 0 h 9175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583182" h="9175096">
                <a:moveTo>
                  <a:pt x="0" y="0"/>
                </a:moveTo>
                <a:lnTo>
                  <a:pt x="7952836" y="2711"/>
                </a:lnTo>
                <a:lnTo>
                  <a:pt x="9583182" y="4604856"/>
                </a:lnTo>
                <a:lnTo>
                  <a:pt x="7975446" y="9171546"/>
                </a:lnTo>
                <a:lnTo>
                  <a:pt x="38948" y="9175096"/>
                </a:lnTo>
                <a:cubicBezTo>
                  <a:pt x="41879" y="6130027"/>
                  <a:pt x="5861" y="3062654"/>
                  <a:pt x="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INEKEN Core"/>
                <a:ea typeface="+mn-ea"/>
                <a:cs typeface="+mn-cs"/>
              </a:rPr>
              <a:t>  </a:t>
            </a:r>
          </a:p>
        </p:txBody>
      </p:sp>
      <p:pic>
        <p:nvPicPr>
          <p:cNvPr id="13" name="Picture 19">
            <a:extLst>
              <a:ext uri="{FF2B5EF4-FFF2-40B4-BE49-F238E27FC236}">
                <a16:creationId xmlns:a16="http://schemas.microsoft.com/office/drawing/2014/main" id="{C68284BA-511D-4297-9C2B-83BCE3FC4F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72047" y="1333532"/>
            <a:ext cx="6258507" cy="1961751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3672572C-2131-4986-B343-6702207EDACD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60250" y="3527728"/>
            <a:ext cx="9941025" cy="17235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/>
              <a:t>Ответственный бизнес в реализации </a:t>
            </a:r>
            <a:br>
              <a:rPr lang="ru-RU" sz="2800" dirty="0"/>
            </a:br>
            <a:r>
              <a:rPr lang="ru-RU" sz="2800" dirty="0"/>
              <a:t>социальных проектов по предотвращению </a:t>
            </a:r>
            <a:br>
              <a:rPr lang="ru-RU" sz="2800" dirty="0"/>
            </a:br>
            <a:r>
              <a:rPr lang="ru-RU" sz="2800" dirty="0"/>
              <a:t>потребления алкогольной продукции</a:t>
            </a:r>
          </a:p>
          <a:p>
            <a:r>
              <a:rPr lang="ru-RU" sz="2800" dirty="0"/>
              <a:t>несовершеннолетними</a:t>
            </a:r>
            <a:endParaRPr lang="en-GB" sz="2800" dirty="0"/>
          </a:p>
        </p:txBody>
      </p:sp>
      <p:sp>
        <p:nvSpPr>
          <p:cNvPr id="18" name="Documenttype">
            <a:extLst>
              <a:ext uri="{FF2B5EF4-FFF2-40B4-BE49-F238E27FC236}">
                <a16:creationId xmlns:a16="http://schemas.microsoft.com/office/drawing/2014/main" id="{B3519AA9-9EDC-4A35-90F9-C6C951C85B2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27028" y="5681052"/>
            <a:ext cx="7203526" cy="784830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ru-RU" sz="2000" dirty="0"/>
              <a:t>Алексей Воробьев</a:t>
            </a:r>
            <a:endParaRPr lang="en-US" sz="2000" dirty="0"/>
          </a:p>
          <a:p>
            <a:r>
              <a:rPr lang="ru-RU" sz="2000" dirty="0"/>
              <a:t>декабрь</a:t>
            </a:r>
            <a:r>
              <a:rPr lang="en-US" sz="2000" dirty="0"/>
              <a:t> 2021</a:t>
            </a:r>
          </a:p>
        </p:txBody>
      </p:sp>
    </p:spTree>
    <p:extLst>
      <p:ext uri="{BB962C8B-B14F-4D97-AF65-F5344CB8AC3E}">
        <p14:creationId xmlns:p14="http://schemas.microsoft.com/office/powerpoint/2010/main" val="13963173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745A371-7FF8-4EE3-9F61-1F4F6554BD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28386" y="5969876"/>
            <a:ext cx="3042792" cy="762914"/>
          </a:xfrm>
          <a:prstGeom prst="rect">
            <a:avLst/>
          </a:prstGeom>
        </p:spPr>
      </p:pic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768243D1-2939-4965-ABB3-9D6F51797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768243D1-2939-4965-ABB3-9D6F51797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EBC95C0-2E74-47DB-8620-FA8506132E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HEINEKEN Core" panose="02000503050000020004" pitchFamily="2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A4CA6F9-0271-471A-863A-E39CF1D638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0235" y="5969876"/>
            <a:ext cx="1822030" cy="6034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56F4E81-212D-47E0-825F-0B448EECD7B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3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3396" y="226127"/>
            <a:ext cx="9101959" cy="6631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260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745A371-7FF8-4EE3-9F61-1F4F6554BD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28386" y="5969876"/>
            <a:ext cx="3042792" cy="762914"/>
          </a:xfrm>
          <a:prstGeom prst="rect">
            <a:avLst/>
          </a:prstGeom>
        </p:spPr>
      </p:pic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768243D1-2939-4965-ABB3-9D6F51797A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8" imgH="408" progId="TCLayout.ActiveDocument.1">
                  <p:embed/>
                </p:oleObj>
              </mc:Choice>
              <mc:Fallback>
                <p:oleObj name="think-cell Slide" r:id="rId7" imgW="408" imgH="408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768243D1-2939-4965-ABB3-9D6F51797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EBC95C0-2E74-47DB-8620-FA8506132EB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INEKEN Core" panose="02000503050000020004" pitchFamily="2" charset="0"/>
              <a:ea typeface="+mn-ea"/>
              <a:cs typeface="+mn-cs"/>
              <a:sym typeface="HEINEKEN Core" panose="02000503050000020004" pitchFamily="2" charset="0"/>
            </a:endParaRPr>
          </a:p>
        </p:txBody>
      </p:sp>
      <p:sp>
        <p:nvSpPr>
          <p:cNvPr id="30" name="2. Slide Title">
            <a:extLst>
              <a:ext uri="{FF2B5EF4-FFF2-40B4-BE49-F238E27FC236}">
                <a16:creationId xmlns:a16="http://schemas.microsoft.com/office/drawing/2014/main" id="{2125D8B3-FC95-409F-B1E1-F1057A80191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77488" y="20564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265A38"/>
                </a:solidFill>
                <a:latin typeface="HEINEKEN Core"/>
              </a:rPr>
              <a:t>Brew a Better World</a:t>
            </a:r>
            <a:r>
              <a:rPr lang="ru-RU" dirty="0">
                <a:solidFill>
                  <a:srgbClr val="265A38"/>
                </a:solidFill>
                <a:latin typeface="HEINEKEN Core"/>
              </a:rPr>
              <a:t>. </a:t>
            </a:r>
            <a:r>
              <a:rPr lang="en-US" dirty="0">
                <a:solidFill>
                  <a:srgbClr val="265A38"/>
                </a:solidFill>
                <a:latin typeface="HEINEKEN Core"/>
              </a:rPr>
              <a:t>Raise the bar </a:t>
            </a:r>
            <a:r>
              <a:rPr lang="ru-RU" dirty="0">
                <a:solidFill>
                  <a:srgbClr val="265A38"/>
                </a:solidFill>
                <a:latin typeface="HEINEKEN Core"/>
              </a:rPr>
              <a:t>2030. </a:t>
            </a:r>
            <a:endParaRPr kumimoji="0" lang="en-GB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265A38"/>
              </a:solidFill>
              <a:effectLst/>
              <a:uLnTx/>
              <a:uFillTx/>
              <a:latin typeface="HEINEKEN Core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FEDAE8-8A78-4057-B0E8-0B4F3C14CFB7}"/>
              </a:ext>
            </a:extLst>
          </p:cNvPr>
          <p:cNvSpPr txBox="1"/>
          <p:nvPr/>
        </p:nvSpPr>
        <p:spPr>
          <a:xfrm>
            <a:off x="7518709" y="590362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1" kern="0" dirty="0">
                <a:solidFill>
                  <a:srgbClr val="79B800"/>
                </a:solidFill>
                <a:effectLst>
                  <a:outerShdw blurRad="152400" algn="tr" rotWithShape="0">
                    <a:srgbClr val="FFFFFF">
                      <a:alpha val="50000"/>
                    </a:srgbClr>
                  </a:outerShdw>
                </a:effectLst>
                <a:latin typeface="HEINEKEN Core ExtraBold" panose="02000503050000020004" pitchFamily="2" charset="0"/>
                <a:sym typeface="Helvetica Neue"/>
              </a:rPr>
              <a:t>Окружающая среда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углеродная нейтральность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циркулярная экономика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Водные ресурсы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1" kern="0" dirty="0">
                <a:solidFill>
                  <a:srgbClr val="FF7900"/>
                </a:solidFill>
                <a:effectLst>
                  <a:outerShdw blurRad="152400" algn="tr" rotWithShape="0">
                    <a:srgbClr val="FFFFFF">
                      <a:alpha val="50000"/>
                    </a:srgbClr>
                  </a:outerShdw>
                </a:effectLst>
                <a:latin typeface="HEINEKEN Core ExtraBold" panose="02000503050000020004" pitchFamily="2" charset="0"/>
              </a:rPr>
              <a:t>Социальное развитие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многообразие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справедливость и безопасность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социальный эффект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1" kern="0" dirty="0">
                <a:solidFill>
                  <a:srgbClr val="0070C3"/>
                </a:solidFill>
                <a:effectLst>
                  <a:outerShdw blurRad="152400" algn="tr" rotWithShape="0">
                    <a:srgbClr val="FFFFFF">
                      <a:alpha val="50000"/>
                    </a:srgbClr>
                  </a:outerShdw>
                </a:effectLst>
                <a:latin typeface="HEINEKEN Core ExtraBold" panose="02000503050000020004" pitchFamily="2" charset="0"/>
              </a:rPr>
              <a:t>Ответственное потребление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альтернатива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умеренность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/>
              <a:t>профилактика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60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37BB24B-3223-4FAF-9D8C-5E93CCF45B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695" y="646165"/>
            <a:ext cx="6322167" cy="5565669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A4CA6F9-0271-471A-863A-E39CF1D638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90235" y="5969876"/>
            <a:ext cx="1822030" cy="60347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2EBE158-A202-4847-AAF9-AA2F304C91F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73228" y="6009664"/>
            <a:ext cx="5749617" cy="683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1298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Текст 3"/>
          <p:cNvSpPr>
            <a:spLocks noGrp="1"/>
          </p:cNvSpPr>
          <p:nvPr>
            <p:ph type="body" sz="quarter" idx="13"/>
          </p:nvPr>
        </p:nvSpPr>
        <p:spPr>
          <a:xfrm>
            <a:off x="305566" y="248695"/>
            <a:ext cx="11134725" cy="541338"/>
          </a:xfrm>
        </p:spPr>
        <p:txBody>
          <a:bodyPr>
            <a:noAutofit/>
          </a:bodyPr>
          <a:lstStyle/>
          <a:p>
            <a:pPr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500" b="1" dirty="0">
                <a:ln w="6350" cap="flat">
                  <a:noFill/>
                  <a:miter lim="800000"/>
                </a:ln>
                <a:solidFill>
                  <a:srgbClr val="265A38"/>
                </a:solidFill>
                <a:latin typeface="HEINEKEN Core"/>
                <a:ea typeface="+mj-ea"/>
                <a:cs typeface="+mj-cs"/>
              </a:rPr>
              <a:t>Профилактика вождения автомобиля в состоянии алкогольного опьянения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CE3C0C5-11D1-4DC4-AA08-AFD2E45D1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1829" y="886488"/>
            <a:ext cx="1128342" cy="59182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A41D119-E403-421E-95C8-B6FBFFB1F8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1327" y="827490"/>
            <a:ext cx="898082" cy="6508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6B80CEF-0FED-4147-9FCF-73E574012D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87322" y="1705144"/>
            <a:ext cx="3869379" cy="233564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3E04154-A4CD-43D7-A8F2-2F75F55C3E57}"/>
              </a:ext>
            </a:extLst>
          </p:cNvPr>
          <p:cNvSpPr txBox="1"/>
          <p:nvPr/>
        </p:nvSpPr>
        <p:spPr>
          <a:xfrm>
            <a:off x="144861" y="4450566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600" dirty="0"/>
              <a:t>Модуль «Автотрезвость» в автошколах</a:t>
            </a:r>
            <a:br>
              <a:rPr lang="ru-RU" sz="1600" dirty="0"/>
            </a:br>
            <a:r>
              <a:rPr lang="ru-RU" sz="1600" dirty="0"/>
              <a:t>РФ с применением очков дополненной</a:t>
            </a:r>
            <a:br>
              <a:rPr lang="ru-RU" sz="1600" dirty="0"/>
            </a:br>
            <a:r>
              <a:rPr lang="ru-RU" sz="1600" dirty="0"/>
              <a:t>реальности: оценка эффекта опьянения</a:t>
            </a:r>
            <a:br>
              <a:rPr lang="ru-RU" sz="1600" dirty="0"/>
            </a:br>
            <a:r>
              <a:rPr lang="ru-RU" sz="1600" dirty="0"/>
              <a:t>без капли алкоголя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491B62B-3CA8-4CBF-A09A-A6AA01777E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93177" y="1690518"/>
            <a:ext cx="4140166" cy="2335642"/>
          </a:xfrm>
          <a:prstGeom prst="rect">
            <a:avLst/>
          </a:prstGeom>
        </p:spPr>
      </p:pic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41B257B9-CB27-4A7C-A65C-C5A0F26D1AE6}"/>
              </a:ext>
            </a:extLst>
          </p:cNvPr>
          <p:cNvGrpSpPr/>
          <p:nvPr/>
        </p:nvGrpSpPr>
        <p:grpSpPr>
          <a:xfrm>
            <a:off x="144862" y="1703020"/>
            <a:ext cx="3553836" cy="2310637"/>
            <a:chOff x="144862" y="1703020"/>
            <a:chExt cx="3553836" cy="2310637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08A7A808-906B-4B6A-9F10-01936E466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4862" y="1703021"/>
              <a:ext cx="3553836" cy="231063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E0F9977C-5F69-4E2D-9DA6-CC3E53EB61B6}"/>
                </a:ext>
              </a:extLst>
            </p:cNvPr>
            <p:cNvSpPr/>
            <p:nvPr/>
          </p:nvSpPr>
          <p:spPr>
            <a:xfrm>
              <a:off x="305566" y="1703020"/>
              <a:ext cx="1447150" cy="773051"/>
            </a:xfrm>
            <a:prstGeom prst="rect">
              <a:avLst/>
            </a:prstGeom>
            <a:solidFill>
              <a:schemeClr val="bg1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ru-RU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813723C3-5A43-48AC-AAD9-0825A3A6F889}"/>
              </a:ext>
            </a:extLst>
          </p:cNvPr>
          <p:cNvSpPr txBox="1"/>
          <p:nvPr/>
        </p:nvSpPr>
        <p:spPr>
          <a:xfrm>
            <a:off x="3915968" y="4450566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600" dirty="0"/>
              <a:t>Социальная акция от АПП и проекта </a:t>
            </a:r>
            <a:br>
              <a:rPr lang="ru-RU" sz="1600" dirty="0"/>
            </a:br>
            <a:r>
              <a:rPr lang="ru-RU" sz="1600" dirty="0"/>
              <a:t>«Автотрезвость» на </a:t>
            </a:r>
            <a:r>
              <a:rPr lang="ru-RU" sz="1600" dirty="0" err="1"/>
              <a:t>авторазаправках</a:t>
            </a:r>
            <a:r>
              <a:rPr lang="ru-RU" sz="1600" dirty="0"/>
              <a:t> ЛУКОЙ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0D81461-E996-4964-BC55-7CCED0DF13D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72865" y="827490"/>
            <a:ext cx="711514" cy="73087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D61915D-5B67-4585-A824-263CEE1141F2}"/>
              </a:ext>
            </a:extLst>
          </p:cNvPr>
          <p:cNvSpPr txBox="1"/>
          <p:nvPr/>
        </p:nvSpPr>
        <p:spPr>
          <a:xfrm>
            <a:off x="8702223" y="4450566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600" dirty="0"/>
              <a:t>Лауреат Eventiada IPRA GWA 2021  </a:t>
            </a:r>
            <a:br>
              <a:rPr lang="ru-RU" sz="1600" dirty="0"/>
            </a:br>
            <a:endParaRPr lang="ru-RU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924BBD1-68B1-48B2-9846-45B5D8EEF289}"/>
              </a:ext>
            </a:extLst>
          </p:cNvPr>
          <p:cNvSpPr txBox="1"/>
          <p:nvPr/>
        </p:nvSpPr>
        <p:spPr>
          <a:xfrm>
            <a:off x="443209" y="1946047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600" b="1" dirty="0"/>
              <a:t>с 2013 г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F4B26B8-594E-4268-8DDB-AE11A5DD8CB4}"/>
              </a:ext>
            </a:extLst>
          </p:cNvPr>
          <p:cNvSpPr txBox="1"/>
          <p:nvPr/>
        </p:nvSpPr>
        <p:spPr>
          <a:xfrm>
            <a:off x="4761600" y="5514312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5 000 000 </a:t>
            </a:r>
            <a:r>
              <a:rPr lang="ru-RU" sz="2000" dirty="0"/>
              <a:t>человек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600</a:t>
            </a:r>
            <a:r>
              <a:rPr lang="ru-RU" sz="2000" dirty="0"/>
              <a:t> автозаправок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80</a:t>
            </a:r>
            <a:r>
              <a:rPr lang="ru-RU" sz="2000" dirty="0"/>
              <a:t> городов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2F08C8-E159-44DB-B660-A734ACCF662E}"/>
              </a:ext>
            </a:extLst>
          </p:cNvPr>
          <p:cNvSpPr txBox="1"/>
          <p:nvPr/>
        </p:nvSpPr>
        <p:spPr>
          <a:xfrm>
            <a:off x="676382" y="5514312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16 </a:t>
            </a:r>
            <a:r>
              <a:rPr lang="ru-RU" sz="2000" dirty="0"/>
              <a:t>регионов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250</a:t>
            </a:r>
            <a:r>
              <a:rPr lang="ru-RU" sz="2000" dirty="0"/>
              <a:t> автошкол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45 000</a:t>
            </a:r>
            <a:r>
              <a:rPr lang="ru-RU" sz="2000" dirty="0"/>
              <a:t> курсантов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E29246-F8D3-4E65-A9E0-F4188C4CC1B0}"/>
              </a:ext>
            </a:extLst>
          </p:cNvPr>
          <p:cNvSpPr txBox="1"/>
          <p:nvPr/>
        </p:nvSpPr>
        <p:spPr>
          <a:xfrm>
            <a:off x="8487498" y="5489112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15 </a:t>
            </a:r>
            <a:r>
              <a:rPr lang="ru-RU" sz="2000" dirty="0"/>
              <a:t>стран-участниц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rgbClr val="C00000"/>
                </a:solidFill>
              </a:rPr>
              <a:t>35</a:t>
            </a:r>
            <a:r>
              <a:rPr lang="ru-RU" sz="2000" dirty="0"/>
              <a:t> бизнес-ассоциаций</a:t>
            </a:r>
          </a:p>
        </p:txBody>
      </p:sp>
    </p:spTree>
    <p:extLst>
      <p:ext uri="{BB962C8B-B14F-4D97-AF65-F5344CB8AC3E}">
        <p14:creationId xmlns:p14="http://schemas.microsoft.com/office/powerpoint/2010/main" val="1104760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5677E55-84E7-43F5-910C-A2F5E6663B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06" y="1075942"/>
            <a:ext cx="4111587" cy="3562965"/>
          </a:xfrm>
          <a:prstGeom prst="rect">
            <a:avLst/>
          </a:prstGeom>
        </p:spPr>
      </p:pic>
      <p:sp>
        <p:nvSpPr>
          <p:cNvPr id="5" name="2. Slide Title">
            <a:extLst>
              <a:ext uri="{FF2B5EF4-FFF2-40B4-BE49-F238E27FC236}">
                <a16:creationId xmlns:a16="http://schemas.microsoft.com/office/drawing/2014/main" id="{4202A5CD-8420-4ABA-B87A-6FB827CCA6D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34606" y="130235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265A38"/>
                </a:solidFill>
                <a:latin typeface="HEINEKEN Core"/>
              </a:rPr>
              <a:t>Профилактики потребления алкоголя подростками</a:t>
            </a:r>
            <a:br>
              <a:rPr lang="ru-RU" dirty="0">
                <a:solidFill>
                  <a:srgbClr val="265A38"/>
                </a:solidFill>
                <a:latin typeface="HEINEKEN Core"/>
              </a:rPr>
            </a:br>
            <a:r>
              <a:rPr lang="ru-RU" dirty="0">
                <a:solidFill>
                  <a:srgbClr val="265A38"/>
                </a:solidFill>
                <a:latin typeface="HEINEKEN Core"/>
              </a:rPr>
              <a:t>Программа от психологов «Я за себя отвечаю»  </a:t>
            </a:r>
            <a:endParaRPr kumimoji="0" lang="en-GB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265A38"/>
              </a:solidFill>
              <a:effectLst/>
              <a:uLnTx/>
              <a:uFillTx/>
              <a:latin typeface="HEINEKEN Core"/>
              <a:ea typeface="+mj-ea"/>
              <a:cs typeface="+mj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3C70CDD-0EF0-457E-850A-78BB195AA3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266" y="4727848"/>
            <a:ext cx="1966250" cy="18243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182B72A-48BB-45E8-BC61-BFE6871B9C77}"/>
              </a:ext>
            </a:extLst>
          </p:cNvPr>
          <p:cNvSpPr txBox="1"/>
          <p:nvPr/>
        </p:nvSpPr>
        <p:spPr>
          <a:xfrm>
            <a:off x="3235971" y="5182798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600" b="1" dirty="0">
                <a:solidFill>
                  <a:srgbClr val="205527"/>
                </a:solidFill>
              </a:rPr>
              <a:t>Заключение 2018</a:t>
            </a:r>
            <a:r>
              <a:rPr lang="ru-RU" sz="1600" dirty="0"/>
              <a:t>: </a:t>
            </a:r>
            <a:r>
              <a:rPr lang="ru-RU" sz="1600" i="1" dirty="0"/>
              <a:t>профилактическая программа, направленная на распространение </a:t>
            </a:r>
            <a:br>
              <a:rPr lang="ru-RU" sz="1600" i="1" dirty="0"/>
            </a:br>
            <a:r>
              <a:rPr lang="ru-RU" sz="1600" i="1" dirty="0"/>
              <a:t>препятствующих употреблению алкоголя социальных норм в подростковой среде,  </a:t>
            </a:r>
            <a:br>
              <a:rPr lang="ru-RU" sz="1600" i="1" dirty="0"/>
            </a:br>
            <a:r>
              <a:rPr lang="ru-RU" sz="1600" i="1" dirty="0"/>
              <a:t>а также программа, которая регулярно проходит процедуру оценки и демонстрирует </a:t>
            </a:r>
            <a:br>
              <a:rPr lang="ru-RU" sz="1600" i="1" dirty="0"/>
            </a:br>
            <a:r>
              <a:rPr lang="ru-RU" sz="1600" i="1" dirty="0"/>
              <a:t>положительное влияние на участников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ru-RU" sz="16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D17175-94FF-47EE-AF4D-0B3F57B4824C}"/>
              </a:ext>
            </a:extLst>
          </p:cNvPr>
          <p:cNvSpPr txBox="1"/>
          <p:nvPr/>
        </p:nvSpPr>
        <p:spPr>
          <a:xfrm>
            <a:off x="4063908" y="2197916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ru-RU" b="1" dirty="0">
                <a:solidFill>
                  <a:srgbClr val="205527"/>
                </a:solidFill>
              </a:rPr>
              <a:t>Работа психологов с тремя категориями:</a:t>
            </a:r>
            <a:endParaRPr lang="ru-RU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/>
              <a:t>педагоги: программа повышения квалификации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/>
              <a:t>родители: лекции, консультирование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/>
              <a:t>подростки: негативное влияние алкоголя на детский организм, </a:t>
            </a:r>
            <a:br>
              <a:rPr lang="ru-RU" dirty="0"/>
            </a:br>
            <a:r>
              <a:rPr lang="ru-RU" dirty="0"/>
              <a:t>формирование независимой позиции; эффективный диалог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ru-RU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6D84BD-6B78-4FF9-AC90-C8C1807742B5}"/>
              </a:ext>
            </a:extLst>
          </p:cNvPr>
          <p:cNvSpPr txBox="1"/>
          <p:nvPr/>
        </p:nvSpPr>
        <p:spPr>
          <a:xfrm>
            <a:off x="4063908" y="3724507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ru-RU" b="1" dirty="0">
                <a:solidFill>
                  <a:srgbClr val="205527"/>
                </a:solidFill>
              </a:rPr>
              <a:t>Оценка </a:t>
            </a:r>
            <a:r>
              <a:rPr lang="ru-RU" dirty="0"/>
              <a:t>эффективности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/>
              <a:t>тесты, опросники, видеоинтервью, </a:t>
            </a:r>
            <a:r>
              <a:rPr lang="ru-RU" dirty="0" err="1"/>
              <a:t>супервизии</a:t>
            </a:r>
            <a:endParaRPr lang="ru-RU" dirty="0"/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ru-RU" dirty="0"/>
              <a:t>социологический институт РАН, 2016-2017, 2017-2018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2B37CBB-9FB9-4182-8C8D-2585B9C92C61}"/>
              </a:ext>
            </a:extLst>
          </p:cNvPr>
          <p:cNvCxnSpPr/>
          <p:nvPr/>
        </p:nvCxnSpPr>
        <p:spPr>
          <a:xfrm>
            <a:off x="2955072" y="4872814"/>
            <a:ext cx="8006576" cy="0"/>
          </a:xfrm>
          <a:prstGeom prst="line">
            <a:avLst/>
          </a:prstGeom>
          <a:ln w="28575">
            <a:tailEnd type="non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9A56C3E-6703-46B9-BC02-088C35FDE9A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65220" y="930487"/>
            <a:ext cx="3816427" cy="1054699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35893243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. Slide Title">
            <a:extLst>
              <a:ext uri="{FF2B5EF4-FFF2-40B4-BE49-F238E27FC236}">
                <a16:creationId xmlns:a16="http://schemas.microsoft.com/office/drawing/2014/main" id="{4202A5CD-8420-4ABA-B87A-6FB827CCA6D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47475" y="305180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265A38"/>
                </a:solidFill>
                <a:latin typeface="HEINEKEN Core"/>
              </a:rPr>
              <a:t>Онлайн-сервис для родителей по развитию навыков диалога</a:t>
            </a:r>
            <a:endParaRPr kumimoji="0" lang="en-GB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265A38"/>
              </a:solidFill>
              <a:effectLst/>
              <a:uLnTx/>
              <a:uFillTx/>
              <a:latin typeface="HEINEKEN Core"/>
              <a:ea typeface="+mj-ea"/>
              <a:cs typeface="+mj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66BC6B8-311A-4E51-9B31-EEAD189EDF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9994" y="3825526"/>
            <a:ext cx="2784481" cy="275992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ADCBFDD-E3E0-4FBD-A4C2-04EA3696F09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4000"/>
                    </a14:imgEffect>
                    <a14:imgEffect>
                      <a14:saturation sat="400000"/>
                    </a14:imgEffect>
                    <a14:imgEffect>
                      <a14:brightnessContrast bright="-1000" contrast="38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199796" y="3825526"/>
            <a:ext cx="4058911" cy="275992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5567919-50EC-4E44-8D9D-30BBB52B70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5241" y="33345"/>
            <a:ext cx="1530322" cy="153032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C4C109D-E3C5-45E4-B92B-D1A956CAEB7F}"/>
              </a:ext>
            </a:extLst>
          </p:cNvPr>
          <p:cNvSpPr txBox="1"/>
          <p:nvPr/>
        </p:nvSpPr>
        <p:spPr>
          <a:xfrm>
            <a:off x="7464028" y="4470624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endParaRPr lang="ru-RU" sz="2000" dirty="0"/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&gt; </a:t>
            </a:r>
            <a:r>
              <a:rPr lang="ru-RU" sz="2000" b="1" dirty="0">
                <a:solidFill>
                  <a:srgbClr val="C00000"/>
                </a:solidFill>
              </a:rPr>
              <a:t>30 000 </a:t>
            </a:r>
            <a:r>
              <a:rPr lang="ru-RU" sz="2000" dirty="0"/>
              <a:t>пользователей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&gt; </a:t>
            </a:r>
            <a:r>
              <a:rPr lang="ru-RU" sz="2000" b="1" dirty="0">
                <a:solidFill>
                  <a:srgbClr val="C00000"/>
                </a:solidFill>
              </a:rPr>
              <a:t>1,4 млн </a:t>
            </a:r>
            <a:r>
              <a:rPr lang="ru-RU" sz="2000" dirty="0"/>
              <a:t>охват аудитории 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000" dirty="0"/>
              <a:t>&gt; </a:t>
            </a:r>
            <a:r>
              <a:rPr lang="ru-RU" sz="2000" b="1" dirty="0">
                <a:solidFill>
                  <a:srgbClr val="C00000"/>
                </a:solidFill>
              </a:rPr>
              <a:t>20 000 </a:t>
            </a:r>
            <a:r>
              <a:rPr lang="ru-RU" sz="2000" dirty="0"/>
              <a:t>пользователей теста на </a:t>
            </a:r>
            <a:r>
              <a:rPr lang="ru-RU" sz="2000" b="1" dirty="0"/>
              <a:t>МЕЛ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2000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68A1B28-E809-4CD7-9FE4-2B662AA2FF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71" y="1582309"/>
            <a:ext cx="3520892" cy="198078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9A39724-D2D5-42A7-A947-551DEE9C71CD}"/>
              </a:ext>
            </a:extLst>
          </p:cNvPr>
          <p:cNvSpPr txBox="1"/>
          <p:nvPr/>
        </p:nvSpPr>
        <p:spPr>
          <a:xfrm>
            <a:off x="319504" y="678905"/>
            <a:ext cx="914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400" dirty="0">
                <a:hlinkClick r:id="rId9"/>
              </a:rPr>
              <a:t>https://www.chatconverter.space/</a:t>
            </a:r>
            <a:r>
              <a:rPr lang="en-US" sz="2400" dirty="0"/>
              <a:t> </a:t>
            </a:r>
            <a:endParaRPr lang="ru-RU" sz="24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37C24B9-D015-418B-A383-42CC2784D2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90725" y="1280653"/>
            <a:ext cx="1845418" cy="235719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CE4AB78-4E1D-430D-B0CC-2C1F6C03A4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50453" y="1295090"/>
            <a:ext cx="1616569" cy="233771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0FE72EB-9178-4F82-9729-3CC93C7CBDF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90498" y="1280653"/>
            <a:ext cx="1480451" cy="233771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27778350-CDA0-4D22-8998-9EFFA485E8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94425" y="1563667"/>
            <a:ext cx="3146204" cy="2074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002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77252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MhBW2.CE76Vg0_lpWxR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qTHoJRIedDmZQqE0D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qTHoJRIedDmZQqE0DR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dyUEtSHWTGKh8VUs9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gdax58O2VHdaTtko4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xgdax58O2VHdaTtko4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Тема Office">
  <a:themeElements>
    <a:clrScheme name="Great Pitch Decks - Environment">
      <a:dk1>
        <a:sysClr val="windowText" lastClr="000000"/>
      </a:dk1>
      <a:lt1>
        <a:sysClr val="window" lastClr="FFFFFF"/>
      </a:lt1>
      <a:dk2>
        <a:srgbClr val="375C1E"/>
      </a:dk2>
      <a:lt2>
        <a:srgbClr val="E2DFCC"/>
      </a:lt2>
      <a:accent1>
        <a:srgbClr val="9ACB39"/>
      </a:accent1>
      <a:accent2>
        <a:srgbClr val="64C24A"/>
      </a:accent2>
      <a:accent3>
        <a:srgbClr val="297D53"/>
      </a:accent3>
      <a:accent4>
        <a:srgbClr val="FECF3F"/>
      </a:accent4>
      <a:accent5>
        <a:srgbClr val="F99D40"/>
      </a:accent5>
      <a:accent6>
        <a:srgbClr val="715C21"/>
      </a:accent6>
      <a:hlink>
        <a:srgbClr val="63A537"/>
      </a:hlink>
      <a:folHlink>
        <a:srgbClr val="63A537"/>
      </a:folHlink>
    </a:clrScheme>
    <a:fontScheme name="Custom 143">
      <a:majorFont>
        <a:latin typeface="Rockwell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_19716576_TF16411175.potx" id="{CF872717-A9DD-4D89-9D3B-10BC5348018B}" vid="{87C666A2-DF52-494E-9BA8-A65930750C1B}"/>
    </a:ext>
  </a:extLst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265A38"/>
      </a:accent1>
      <a:accent2>
        <a:srgbClr val="7AB800"/>
      </a:accent2>
      <a:accent3>
        <a:srgbClr val="FF7900"/>
      </a:accent3>
      <a:accent4>
        <a:srgbClr val="C4C4C4"/>
      </a:accent4>
      <a:accent5>
        <a:srgbClr val="ED1C24"/>
      </a:accent5>
      <a:accent6>
        <a:srgbClr val="7F7F7F"/>
      </a:accent6>
      <a:hlink>
        <a:srgbClr val="0000FF"/>
      </a:hlink>
      <a:folHlink>
        <a:srgbClr val="800080"/>
      </a:folHlink>
    </a:clrScheme>
    <a:fontScheme name="Custom 7">
      <a:majorFont>
        <a:latin typeface="HEINEKEN Core"/>
        <a:ea typeface=""/>
        <a:cs typeface=""/>
      </a:majorFont>
      <a:minorFont>
        <a:latin typeface="HEINEKEN Core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265A38"/>
        </a:accent1>
        <a:accent2>
          <a:srgbClr val="7AB800"/>
        </a:accent2>
        <a:accent3>
          <a:srgbClr val="FF7900"/>
        </a:accent3>
        <a:accent4>
          <a:srgbClr val="C4C4C4"/>
        </a:accent4>
        <a:accent5>
          <a:srgbClr val="ED1C24"/>
        </a:accent5>
        <a:accent6>
          <a:srgbClr val="7F7F7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6920_OFF.potx" id="{425E12EA-6FC8-44CB-9FA1-44BFB2CE96D4}" vid="{7AE29FF4-8D5C-4345-91FB-F3738474CDA5}"/>
    </a:ext>
  </a:extLst>
</a:theme>
</file>

<file path=ppt/theme/theme3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265A38"/>
      </a:lt1>
      <a:dk2>
        <a:srgbClr val="000000"/>
      </a:dk2>
      <a:lt2>
        <a:srgbClr val="000000"/>
      </a:lt2>
      <a:accent1>
        <a:srgbClr val="FFFFFF"/>
      </a:accent1>
      <a:accent2>
        <a:srgbClr val="ED1C24"/>
      </a:accent2>
      <a:accent3>
        <a:srgbClr val="7AB800"/>
      </a:accent3>
      <a:accent4>
        <a:srgbClr val="FF7900"/>
      </a:accent4>
      <a:accent5>
        <a:srgbClr val="C4C4C4"/>
      </a:accent5>
      <a:accent6>
        <a:srgbClr val="7F7F7F"/>
      </a:accent6>
      <a:hlink>
        <a:srgbClr val="0000FF"/>
      </a:hlink>
      <a:folHlink>
        <a:srgbClr val="800080"/>
      </a:folHlink>
    </a:clrScheme>
    <a:fontScheme name="Custom 7">
      <a:majorFont>
        <a:latin typeface="HEINEKEN Core"/>
        <a:ea typeface=""/>
        <a:cs typeface=""/>
      </a:majorFont>
      <a:minorFont>
        <a:latin typeface="HEINEKEN Core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265A38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ED1C24"/>
        </a:accent2>
        <a:accent3>
          <a:srgbClr val="7AB800"/>
        </a:accent3>
        <a:accent4>
          <a:srgbClr val="FF7900"/>
        </a:accent4>
        <a:accent5>
          <a:srgbClr val="C4C4C4"/>
        </a:accent5>
        <a:accent6>
          <a:srgbClr val="7F7F7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6920_OFF.potx" id="{425E12EA-6FC8-44CB-9FA1-44BFB2CE96D4}" vid="{F55A2C5C-5AB9-42E4-88ED-4B74F75502A5}"/>
    </a:ext>
  </a:extLst>
</a:theme>
</file>

<file path=ppt/theme/theme4.xml><?xml version="1.0" encoding="utf-8"?>
<a:theme xmlns:a="http://schemas.openxmlformats.org/drawingml/2006/main" name="Heineken">
  <a:themeElements>
    <a:clrScheme name="Heineken">
      <a:dk1>
        <a:sysClr val="windowText" lastClr="000000"/>
      </a:dk1>
      <a:lt1>
        <a:sysClr val="window" lastClr="FFFFFF"/>
      </a:lt1>
      <a:dk2>
        <a:srgbClr val="DBDBDB"/>
      </a:dk2>
      <a:lt2>
        <a:srgbClr val="F3F3F3"/>
      </a:lt2>
      <a:accent1>
        <a:srgbClr val="205527"/>
      </a:accent1>
      <a:accent2>
        <a:srgbClr val="008200"/>
      </a:accent2>
      <a:accent3>
        <a:srgbClr val="7AB800"/>
      </a:accent3>
      <a:accent4>
        <a:srgbClr val="C3C3C3"/>
      </a:accent4>
      <a:accent5>
        <a:srgbClr val="FF2B00"/>
      </a:accent5>
      <a:accent6>
        <a:srgbClr val="FECB00"/>
      </a:accent6>
      <a:hlink>
        <a:srgbClr val="7AB800"/>
      </a:hlink>
      <a:folHlink>
        <a:srgbClr val="205527"/>
      </a:folHlink>
    </a:clrScheme>
    <a:fontScheme name="Heineken">
      <a:majorFont>
        <a:latin typeface="HEINEKEN Core"/>
        <a:ea typeface=""/>
        <a:cs typeface=""/>
      </a:majorFont>
      <a:minorFont>
        <a:latin typeface="HEINEKEN Cor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Heineken">
  <a:themeElements>
    <a:clrScheme name="Heineken">
      <a:dk1>
        <a:sysClr val="windowText" lastClr="000000"/>
      </a:dk1>
      <a:lt1>
        <a:sysClr val="window" lastClr="FFFFFF"/>
      </a:lt1>
      <a:dk2>
        <a:srgbClr val="DBDBDB"/>
      </a:dk2>
      <a:lt2>
        <a:srgbClr val="F3F3F3"/>
      </a:lt2>
      <a:accent1>
        <a:srgbClr val="205527"/>
      </a:accent1>
      <a:accent2>
        <a:srgbClr val="008200"/>
      </a:accent2>
      <a:accent3>
        <a:srgbClr val="7AB800"/>
      </a:accent3>
      <a:accent4>
        <a:srgbClr val="C3C3C3"/>
      </a:accent4>
      <a:accent5>
        <a:srgbClr val="FF2B00"/>
      </a:accent5>
      <a:accent6>
        <a:srgbClr val="FECB00"/>
      </a:accent6>
      <a:hlink>
        <a:srgbClr val="7AB800"/>
      </a:hlink>
      <a:folHlink>
        <a:srgbClr val="205527"/>
      </a:folHlink>
    </a:clrScheme>
    <a:fontScheme name="Heineken">
      <a:majorFont>
        <a:latin typeface="HEINEKEN Core"/>
        <a:ea typeface=""/>
        <a:cs typeface=""/>
      </a:majorFont>
      <a:minorFont>
        <a:latin typeface="HEINEKEN Cor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sz="1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2F8FA31D66514CA0C7582E61679708" ma:contentTypeVersion="13" ma:contentTypeDescription="Create a new document." ma:contentTypeScope="" ma:versionID="d969d30ecc9fb0f6a028661ac64e3392">
  <xsd:schema xmlns:xsd="http://www.w3.org/2001/XMLSchema" xmlns:xs="http://www.w3.org/2001/XMLSchema" xmlns:p="http://schemas.microsoft.com/office/2006/metadata/properties" xmlns:ns3="eb60a7a5-3032-4ce7-a752-102853134047" xmlns:ns4="fd6680ac-3ed5-4570-933b-e5c1eae87a1d" targetNamespace="http://schemas.microsoft.com/office/2006/metadata/properties" ma:root="true" ma:fieldsID="e5d8dc52ed40fc7d27c216cda8f910f1" ns3:_="" ns4:_="">
    <xsd:import namespace="eb60a7a5-3032-4ce7-a752-102853134047"/>
    <xsd:import namespace="fd6680ac-3ed5-4570-933b-e5c1eae87a1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60a7a5-3032-4ce7-a752-102853134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6680ac-3ed5-4570-933b-e5c1eae87a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0EEF5E8-0719-4BC2-BD9B-09CFC70764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DF14B5-6BDF-4377-AC56-6D86F031E6AE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  <ds:schemaRef ds:uri="eb60a7a5-3032-4ce7-a752-102853134047"/>
    <ds:schemaRef ds:uri="http://purl.org/dc/elements/1.1/"/>
    <ds:schemaRef ds:uri="http://schemas.microsoft.com/office/infopath/2007/PartnerControls"/>
    <ds:schemaRef ds:uri="fd6680ac-3ed5-4570-933b-e5c1eae87a1d"/>
  </ds:schemaRefs>
</ds:datastoreItem>
</file>

<file path=customXml/itemProps3.xml><?xml version="1.0" encoding="utf-8"?>
<ds:datastoreItem xmlns:ds="http://schemas.openxmlformats.org/officeDocument/2006/customXml" ds:itemID="{9A9CA7A0-0CCD-4B95-B501-31D85DB9DF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60a7a5-3032-4ce7-a752-102853134047"/>
    <ds:schemaRef ds:uri="fd6680ac-3ed5-4570-933b-e5c1eae87a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Зеленая презентация</Template>
  <TotalTime>7011</TotalTime>
  <Words>261</Words>
  <Application>Microsoft Office PowerPoint</Application>
  <PresentationFormat>Широкоэкранный</PresentationFormat>
  <Paragraphs>59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3" baseType="lpstr">
      <vt:lpstr>Arial</vt:lpstr>
      <vt:lpstr>Calibri</vt:lpstr>
      <vt:lpstr>Calibri Light</vt:lpstr>
      <vt:lpstr>HEINEKEN Core</vt:lpstr>
      <vt:lpstr>HEINEKEN Core ExtraBold</vt:lpstr>
      <vt:lpstr>Lucida Sans Unicode</vt:lpstr>
      <vt:lpstr>Rockwell</vt:lpstr>
      <vt:lpstr>Segoe UI</vt:lpstr>
      <vt:lpstr>Times New Roman</vt:lpstr>
      <vt:lpstr>Wingdings</vt:lpstr>
      <vt:lpstr>Тема Office</vt:lpstr>
      <vt:lpstr>White</vt:lpstr>
      <vt:lpstr>Contrast</vt:lpstr>
      <vt:lpstr>Heineken</vt:lpstr>
      <vt:lpstr>1_Heineke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вышение эффективности экологического менеджмента на примере системы управления отходами</dc:title>
  <dc:creator>Anna Voronkova</dc:creator>
  <cp:lastModifiedBy>Ekaterina Veselkova</cp:lastModifiedBy>
  <cp:revision>89</cp:revision>
  <dcterms:created xsi:type="dcterms:W3CDTF">2021-03-17T08:56:52Z</dcterms:created>
  <dcterms:modified xsi:type="dcterms:W3CDTF">2021-12-23T06:4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2F8FA31D66514CA0C7582E61679708</vt:lpwstr>
  </property>
</Properties>
</file>